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5.xml" ContentType="application/vnd.openxmlformats-officedocument.themeOverr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5" r:id="rId2"/>
  </p:sldMasterIdLst>
  <p:notesMasterIdLst>
    <p:notesMasterId r:id="rId25"/>
  </p:notesMasterIdLst>
  <p:sldIdLst>
    <p:sldId id="256" r:id="rId3"/>
    <p:sldId id="258" r:id="rId4"/>
    <p:sldId id="1697" r:id="rId5"/>
    <p:sldId id="1695" r:id="rId6"/>
    <p:sldId id="1696" r:id="rId7"/>
    <p:sldId id="1701" r:id="rId8"/>
    <p:sldId id="1723" r:id="rId9"/>
    <p:sldId id="1700" r:id="rId10"/>
    <p:sldId id="1725" r:id="rId11"/>
    <p:sldId id="1726" r:id="rId12"/>
    <p:sldId id="1727" r:id="rId13"/>
    <p:sldId id="1728" r:id="rId14"/>
    <p:sldId id="1729" r:id="rId15"/>
    <p:sldId id="1730" r:id="rId16"/>
    <p:sldId id="1731" r:id="rId17"/>
    <p:sldId id="1732" r:id="rId18"/>
    <p:sldId id="1733" r:id="rId19"/>
    <p:sldId id="1734" r:id="rId20"/>
    <p:sldId id="1735" r:id="rId21"/>
    <p:sldId id="1736" r:id="rId22"/>
    <p:sldId id="1737" r:id="rId23"/>
    <p:sldId id="1738" r:id="rId24"/>
  </p:sldIdLst>
  <p:sldSz cx="12192000" cy="6858000"/>
  <p:notesSz cx="6858000" cy="9144000"/>
  <p:custDataLst>
    <p:tags r:id="rId2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83A9"/>
    <a:srgbClr val="39BAE8"/>
    <a:srgbClr val="42BDE9"/>
    <a:srgbClr val="FFBFBE"/>
    <a:srgbClr val="92D9F2"/>
    <a:srgbClr val="E6E6E6"/>
    <a:srgbClr val="FCBA40"/>
    <a:srgbClr val="FFDA93"/>
    <a:srgbClr val="FFC0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9" autoAdjust="0"/>
    <p:restoredTop sz="95539" autoAdjust="0"/>
  </p:normalViewPr>
  <p:slideViewPr>
    <p:cSldViewPr snapToGrid="0">
      <p:cViewPr varScale="1">
        <p:scale>
          <a:sx n="109" d="100"/>
          <a:sy n="109" d="100"/>
        </p:scale>
        <p:origin x="148" y="8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5/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Now, let me introduce the method and result of accuracy part in our projec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Since the goal of this project is to predict the future sales and there are many features showing impact</a:t>
            </a:r>
            <a:r>
              <a:rPr lang="en-US" altLang="zh-CN"/>
              <a:t> </a:t>
            </a:r>
            <a:r>
              <a:rPr lang="zh-CN" altLang="en-US"/>
              <a:t>to the sales, we choose LightGBM, a powerful regression model, to train this large amount of data</a:t>
            </a:r>
            <a:r>
              <a:rPr lang="en-US" altLang="zh-CN"/>
              <a:t> </a:t>
            </a:r>
            <a:r>
              <a:rPr lang="zh-CN" altLang="en-US"/>
              <a:t>and do the prediction.</a:t>
            </a:r>
          </a:p>
          <a:p>
            <a:r>
              <a:rPr lang="zh-CN" altLang="en-US"/>
              <a:t>LightGBM is an improved </a:t>
            </a:r>
            <a:r>
              <a:rPr lang="en-US" altLang="zh-CN"/>
              <a:t>and faster </a:t>
            </a:r>
            <a:r>
              <a:rPr lang="zh-CN" altLang="en-US"/>
              <a:t>version of GBDT.</a:t>
            </a:r>
            <a:r>
              <a:rPr lang="en-US" altLang="zh-CN"/>
              <a:t> </a:t>
            </a:r>
            <a:r>
              <a:rPr lang="zh-CN" altLang="en-US"/>
              <a:t>GBDT</a:t>
            </a:r>
            <a:r>
              <a:rPr lang="en-US" altLang="zh-CN"/>
              <a:t>’s code is shown as figure.</a:t>
            </a:r>
          </a:p>
          <a:p>
            <a:r>
              <a:rPr lang="en-US" altLang="zh-CN"/>
              <a:t>On GBDT’s basis, LightGBM use GOSS to obtain more accurate results, and use EFB to minimize the conflict ratio.</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In the actual model training and testing, in order to predict the sales data from d_1942 to d_1969,</a:t>
            </a:r>
            <a:r>
              <a:rPr lang="en-US" altLang="zh-CN">
                <a:sym typeface="+mn-ea"/>
              </a:rPr>
              <a:t> </a:t>
            </a:r>
            <a:r>
              <a:rPr lang="zh-CN" altLang="en-US">
                <a:sym typeface="+mn-ea"/>
              </a:rPr>
              <a:t>we use data from d_1 to d_1941,and put them into the</a:t>
            </a:r>
            <a:r>
              <a:rPr lang="en-US" altLang="zh-CN">
                <a:sym typeface="+mn-ea"/>
              </a:rPr>
              <a:t> </a:t>
            </a:r>
            <a:r>
              <a:rPr lang="zh-CN" altLang="en-US">
                <a:sym typeface="+mn-ea"/>
              </a:rPr>
              <a:t>model for training.</a:t>
            </a:r>
            <a:endParaRPr lang="zh-CN" altLang="en-US"/>
          </a:p>
          <a:p>
            <a:r>
              <a:rPr lang="zh-CN" altLang="en-US">
                <a:sym typeface="+mn-ea"/>
              </a:rPr>
              <a:t>The evaluation is based on the RMSSE between the</a:t>
            </a:r>
            <a:r>
              <a:rPr lang="en-US" altLang="zh-CN">
                <a:sym typeface="+mn-ea"/>
              </a:rPr>
              <a:t> </a:t>
            </a:r>
            <a:r>
              <a:rPr lang="zh-CN" altLang="en-US">
                <a:sym typeface="+mn-ea"/>
              </a:rPr>
              <a:t>true value and prediction value. </a:t>
            </a:r>
            <a:r>
              <a:rPr lang="en-US" altLang="zh-CN"/>
              <a:t>Our final private score is 0.62812.</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Now, it’s time to introduce the methods of uncertainty part in our projec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sym typeface="+mn-ea"/>
              </a:rPr>
              <a:t>All the regression analysis functions mentioned are essentially a conditional expectation function. But more often, we don’t want to just study the expectation of Y, but also to explore the complete distribution of Y, or maybe in some cases, we prefer to know a quantile of Y.</a:t>
            </a:r>
          </a:p>
          <a:p>
            <a:r>
              <a:rPr lang="en-US" altLang="zh-CN" dirty="0">
                <a:sym typeface="+mn-ea"/>
              </a:rPr>
              <a:t>The quantile loss differs depending on different quantile, for higher quantiles, more negative errors are penalized and for lower quantiles, more positive errors are penalized. </a:t>
            </a:r>
            <a:endParaRPr lang="en-US" altLang="zh-CN" dirty="0"/>
          </a:p>
          <a:p>
            <a:endParaRPr lang="en-US" altLang="zh-CN" dirty="0"/>
          </a:p>
          <a:p>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a:sym typeface="+mn-ea"/>
              </a:rPr>
              <a:t>Due to the time periodic data, we consider using</a:t>
            </a:r>
            <a:r>
              <a:rPr lang="en-US">
                <a:sym typeface="+mn-ea"/>
              </a:rPr>
              <a:t> </a:t>
            </a:r>
            <a:r>
              <a:rPr>
                <a:sym typeface="+mn-ea"/>
              </a:rPr>
              <a:t>Artificial neural network</a:t>
            </a:r>
            <a:r>
              <a:rPr lang="en-US">
                <a:sym typeface="+mn-ea"/>
              </a:rPr>
              <a:t> and LSTM. Their general structure is shown in the figur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sym typeface="+mn-ea"/>
              </a:rPr>
              <a:t>W</a:t>
            </a:r>
            <a:r>
              <a:rPr>
                <a:sym typeface="+mn-ea"/>
              </a:rPr>
              <a:t>e consider directly using the basic neural network to predict the future sales</a:t>
            </a:r>
            <a:r>
              <a:rPr lang="en-US">
                <a:sym typeface="+mn-ea"/>
              </a:rPr>
              <a:t> </a:t>
            </a:r>
            <a:r>
              <a:rPr>
                <a:sym typeface="+mn-ea"/>
              </a:rPr>
              <a:t>situation and make the uncertainty estimates</a:t>
            </a:r>
            <a:r>
              <a:rPr lang="en-US">
                <a:sym typeface="+mn-ea"/>
              </a:rPr>
              <a:t> first</a:t>
            </a:r>
            <a:r>
              <a:rPr>
                <a:sym typeface="+mn-ea"/>
              </a:rPr>
              <a:t>.</a:t>
            </a:r>
          </a:p>
          <a:p>
            <a:r>
              <a:rPr>
                <a:sym typeface="+mn-ea"/>
              </a:rPr>
              <a:t>For quanti</a:t>
            </a:r>
            <a:r>
              <a:rPr lang="en-US">
                <a:sym typeface="+mn-ea"/>
              </a:rPr>
              <a:t>le</a:t>
            </a:r>
            <a:r>
              <a:rPr>
                <a:sym typeface="+mn-ea"/>
              </a:rPr>
              <a:t> regression, we set a special loss function.</a:t>
            </a:r>
          </a:p>
          <a:p>
            <a:r>
              <a:rPr>
                <a:sym typeface="+mn-ea"/>
              </a:rPr>
              <a:t>We input the preprocessed</a:t>
            </a:r>
            <a:r>
              <a:rPr lang="en-US">
                <a:sym typeface="+mn-ea"/>
              </a:rPr>
              <a:t> </a:t>
            </a:r>
            <a:r>
              <a:rPr>
                <a:sym typeface="+mn-ea"/>
              </a:rPr>
              <a:t>training data into the model for training. Among them, each line of training data includes sales data</a:t>
            </a:r>
            <a:r>
              <a:rPr lang="en-US">
                <a:sym typeface="+mn-ea"/>
              </a:rPr>
              <a:t> </a:t>
            </a:r>
            <a:r>
              <a:rPr>
                <a:sym typeface="+mn-ea"/>
              </a:rPr>
              <a:t>information under a specific hierarchy. Then, for different quantiles, we use the trained model to predict respectively and save it to</a:t>
            </a:r>
            <a:r>
              <a:rPr lang="en-US">
                <a:sym typeface="+mn-ea"/>
              </a:rPr>
              <a:t> </a:t>
            </a:r>
            <a:r>
              <a:rPr>
                <a:sym typeface="+mn-ea"/>
              </a:rPr>
              <a:t>the </a:t>
            </a:r>
            <a:r>
              <a:rPr lang="en-US">
                <a:sym typeface="+mn-ea"/>
              </a:rPr>
              <a:t> submission </a:t>
            </a:r>
            <a:r>
              <a:rPr>
                <a:sym typeface="+mn-ea"/>
              </a:rPr>
              <a:t>file.</a:t>
            </a:r>
          </a:p>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6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eg"/><Relationship Id="rId2" Type="http://schemas.openxmlformats.org/officeDocument/2006/relationships/hyperlink" Target="http://www.officeplus.cn/Template/Home.shtml" TargetMode="External"/><Relationship Id="rId1" Type="http://schemas.openxmlformats.org/officeDocument/2006/relationships/slideMaster" Target="../slideMasters/slideMaster2.xml"/><Relationship Id="rId6" Type="http://schemas.openxmlformats.org/officeDocument/2006/relationships/image" Target="../media/image9.jpeg"/><Relationship Id="rId5" Type="http://schemas.openxmlformats.org/officeDocument/2006/relationships/image" Target="../media/image8.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hyperlink" Target="http://www.officeplus.cn/Template/Home.shtml" TargetMode="External"/><Relationship Id="rId2" Type="http://schemas.openxmlformats.org/officeDocument/2006/relationships/image" Target="../media/image6.jpe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8" name="矩形 17"/>
          <p:cNvSpPr/>
          <p:nvPr userDrawn="1"/>
        </p:nvSpPr>
        <p:spPr>
          <a:xfrm>
            <a:off x="0" y="0"/>
            <a:ext cx="12192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userDrawn="1"/>
        </p:nvSpPr>
        <p:spPr>
          <a:xfrm>
            <a:off x="7698671" y="715249"/>
            <a:ext cx="3530051"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形状 50"/>
          <p:cNvSpPr/>
          <p:nvPr userDrawn="1"/>
        </p:nvSpPr>
        <p:spPr bwMode="auto">
          <a:xfrm>
            <a:off x="0" y="1699690"/>
            <a:ext cx="12192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91440" tIns="45720" rIns="91440" bIns="45720" numCol="1" anchor="t" anchorCtr="0" compatLnSpc="1">
            <a:noAutofit/>
          </a:bodyPr>
          <a:lstStyle/>
          <a:p>
            <a:endParaRPr lang="zh-CN" altLang="en-US"/>
          </a:p>
        </p:txBody>
      </p:sp>
      <p:sp>
        <p:nvSpPr>
          <p:cNvPr id="40" name="Freeform 9"/>
          <p:cNvSpPr/>
          <p:nvPr userDrawn="1"/>
        </p:nvSpPr>
        <p:spPr bwMode="auto">
          <a:xfrm>
            <a:off x="5358307" y="2039469"/>
            <a:ext cx="6070237"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91440" tIns="45720" rIns="91440" bIns="45720" numCol="1" anchor="t" anchorCtr="0" compatLnSpc="1"/>
          <a:lstStyle/>
          <a:p>
            <a:endParaRPr lang="zh-CN" altLang="en-US"/>
          </a:p>
        </p:txBody>
      </p:sp>
      <p:sp>
        <p:nvSpPr>
          <p:cNvPr id="35" name="Freeform 5"/>
          <p:cNvSpPr/>
          <p:nvPr userDrawn="1"/>
        </p:nvSpPr>
        <p:spPr bwMode="auto">
          <a:xfrm>
            <a:off x="2743200" y="3636650"/>
            <a:ext cx="94488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91440" tIns="45720" rIns="91440" bIns="45720" numCol="1" anchor="t" anchorCtr="0" compatLnSpc="1"/>
          <a:lstStyle/>
          <a:p>
            <a:endParaRPr lang="zh-CN" altLang="en-US"/>
          </a:p>
        </p:txBody>
      </p:sp>
      <p:sp>
        <p:nvSpPr>
          <p:cNvPr id="29" name="任意多边形: 形状 28"/>
          <p:cNvSpPr/>
          <p:nvPr userDrawn="1"/>
        </p:nvSpPr>
        <p:spPr>
          <a:xfrm>
            <a:off x="0" y="1"/>
            <a:ext cx="4362450"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userDrawn="1"/>
        </p:nvSpPr>
        <p:spPr>
          <a:xfrm>
            <a:off x="934647" y="3122083"/>
            <a:ext cx="2611078"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Freeform 13"/>
          <p:cNvSpPr/>
          <p:nvPr userDrawn="1"/>
        </p:nvSpPr>
        <p:spPr bwMode="auto">
          <a:xfrm>
            <a:off x="1453964" y="1088581"/>
            <a:ext cx="3427706"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91440" tIns="45720" rIns="91440" bIns="45720" numCol="1" anchor="t" anchorCtr="0" compatLnSpc="1"/>
          <a:lstStyle/>
          <a:p>
            <a:endParaRPr lang="zh-CN" altLang="en-US"/>
          </a:p>
        </p:txBody>
      </p:sp>
      <p:sp>
        <p:nvSpPr>
          <p:cNvPr id="33" name="任意多边形: 形状 32"/>
          <p:cNvSpPr/>
          <p:nvPr userDrawn="1"/>
        </p:nvSpPr>
        <p:spPr>
          <a:xfrm flipV="1">
            <a:off x="0" y="4353146"/>
            <a:ext cx="7610576"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userDrawn="1"/>
        </p:nvSpPr>
        <p:spPr>
          <a:xfrm>
            <a:off x="3268795" y="992944"/>
            <a:ext cx="5654410"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p:nvPr>
        </p:nvSpPr>
        <p:spPr>
          <a:xfrm>
            <a:off x="3262420" y="3120767"/>
            <a:ext cx="5654410" cy="558799"/>
          </a:xfrm>
        </p:spPr>
        <p:txBody>
          <a:bodyPr anchor="ctr">
            <a:normAutofit/>
          </a:bodyPr>
          <a:lstStyle>
            <a:lvl1pPr marL="0" indent="0" algn="ct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262419" y="1862835"/>
            <a:ext cx="5654410" cy="1257932"/>
          </a:xfrm>
        </p:spPr>
        <p:txBody>
          <a:bodyPr anchor="ctr">
            <a:normAutofit/>
          </a:bodyPr>
          <a:lstStyle>
            <a:lvl1pPr algn="ct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262420" y="4530104"/>
            <a:ext cx="5654410"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3262419" y="4847274"/>
            <a:ext cx="5654410"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微软黑科技">
    <p:spTree>
      <p:nvGrpSpPr>
        <p:cNvPr id="1" name=""/>
        <p:cNvGrpSpPr/>
        <p:nvPr/>
      </p:nvGrpSpPr>
      <p:grpSpPr>
        <a:xfrm>
          <a:off x="0" y="0"/>
          <a:ext cx="0" cy="0"/>
          <a:chOff x="0" y="0"/>
          <a:chExt cx="0" cy="0"/>
        </a:xfrm>
      </p:grpSpPr>
      <p:cxnSp>
        <p:nvCxnSpPr>
          <p:cNvPr id="4" name="直接连接符 3"/>
          <p:cNvCxnSpPr/>
          <p:nvPr userDrawn="1"/>
        </p:nvCxnSpPr>
        <p:spPr>
          <a:xfrm>
            <a:off x="0" y="657288"/>
            <a:ext cx="12192000" cy="0"/>
          </a:xfrm>
          <a:prstGeom prst="line">
            <a:avLst/>
          </a:prstGeom>
          <a:ln>
            <a:solidFill>
              <a:srgbClr val="E73A1C"/>
            </a:solidFill>
          </a:ln>
        </p:spPr>
        <p:style>
          <a:lnRef idx="1">
            <a:schemeClr val="accent1"/>
          </a:lnRef>
          <a:fillRef idx="0">
            <a:schemeClr val="accent1"/>
          </a:fillRef>
          <a:effectRef idx="0">
            <a:schemeClr val="accent1"/>
          </a:effectRef>
          <a:fontRef idx="minor">
            <a:schemeClr val="tx1"/>
          </a:fontRef>
        </p:style>
      </p:cxnSp>
      <p:sp>
        <p:nvSpPr>
          <p:cNvPr id="6" name="矩形 5"/>
          <p:cNvSpPr/>
          <p:nvPr userDrawn="1"/>
        </p:nvSpPr>
        <p:spPr>
          <a:xfrm>
            <a:off x="0" y="3091547"/>
            <a:ext cx="12192000" cy="3766453"/>
          </a:xfrm>
          <a:prstGeom prst="rect">
            <a:avLst/>
          </a:prstGeom>
          <a:solidFill>
            <a:srgbClr val="E7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sp>
        <p:nvSpPr>
          <p:cNvPr id="8" name="矩形: 圆角 7"/>
          <p:cNvSpPr/>
          <p:nvPr userDrawn="1"/>
        </p:nvSpPr>
        <p:spPr>
          <a:xfrm>
            <a:off x="621395" y="1362836"/>
            <a:ext cx="3462340" cy="3462340"/>
          </a:xfrm>
          <a:prstGeom prst="roundRect">
            <a:avLst>
              <a:gd name="adj" fmla="val 5598"/>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sp>
        <p:nvSpPr>
          <p:cNvPr id="9" name="矩形: 圆角 8"/>
          <p:cNvSpPr/>
          <p:nvPr userDrawn="1"/>
        </p:nvSpPr>
        <p:spPr>
          <a:xfrm>
            <a:off x="4374467" y="1362836"/>
            <a:ext cx="3462340" cy="3462340"/>
          </a:xfrm>
          <a:prstGeom prst="roundRect">
            <a:avLst>
              <a:gd name="adj" fmla="val 5598"/>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sp>
        <p:nvSpPr>
          <p:cNvPr id="10" name="文本框 9"/>
          <p:cNvSpPr txBox="1"/>
          <p:nvPr userDrawn="1"/>
        </p:nvSpPr>
        <p:spPr>
          <a:xfrm>
            <a:off x="1656327" y="286129"/>
            <a:ext cx="8879354" cy="670120"/>
          </a:xfrm>
          <a:prstGeom prst="rect">
            <a:avLst/>
          </a:prstGeom>
          <a:solidFill>
            <a:schemeClr val="bg1"/>
          </a:solidFill>
        </p:spPr>
        <p:txBody>
          <a:bodyPr wrap="none" rtlCol="0">
            <a:spAutoFit/>
          </a:bodyPr>
          <a:lstStyle/>
          <a:p>
            <a:pPr algn="ctr">
              <a:lnSpc>
                <a:spcPct val="130000"/>
              </a:lnSpc>
              <a:spcBef>
                <a:spcPts val="600"/>
              </a:spcBef>
            </a:pPr>
            <a:r>
              <a:rPr lang="zh-CN" altLang="en-US" sz="3200" b="1" kern="0">
                <a:latin typeface="微软雅黑" panose="020B0503020204020204" charset="-122"/>
                <a:ea typeface="微软雅黑" panose="020B0503020204020204" charset="-122"/>
                <a:cs typeface="+mn-ea"/>
                <a:sym typeface="+mn-lt"/>
              </a:rPr>
              <a:t> 微信扫描小程序码，使用微软移动办公黑科技 </a:t>
            </a:r>
            <a:endParaRPr lang="en-US" sz="3200" b="1" kern="0" dirty="0">
              <a:latin typeface="微软雅黑" panose="020B0503020204020204" charset="-122"/>
              <a:ea typeface="微软雅黑" panose="020B0503020204020204" charset="-122"/>
              <a:cs typeface="+mn-ea"/>
              <a:sym typeface="+mn-lt"/>
            </a:endParaRPr>
          </a:p>
        </p:txBody>
      </p:sp>
      <p:cxnSp>
        <p:nvCxnSpPr>
          <p:cNvPr id="11" name="直接连接符 10"/>
          <p:cNvCxnSpPr/>
          <p:nvPr userDrawn="1"/>
        </p:nvCxnSpPr>
        <p:spPr>
          <a:xfrm flipH="1">
            <a:off x="1523089" y="369629"/>
            <a:ext cx="266460" cy="622048"/>
          </a:xfrm>
          <a:prstGeom prst="line">
            <a:avLst/>
          </a:prstGeom>
          <a:ln>
            <a:solidFill>
              <a:srgbClr val="E73A1C"/>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userDrawn="1"/>
        </p:nvCxnSpPr>
        <p:spPr>
          <a:xfrm flipH="1">
            <a:off x="10402443" y="369629"/>
            <a:ext cx="266460" cy="622048"/>
          </a:xfrm>
          <a:prstGeom prst="line">
            <a:avLst/>
          </a:prstGeom>
          <a:ln>
            <a:solidFill>
              <a:srgbClr val="E73A1C"/>
            </a:solidFill>
          </a:ln>
        </p:spPr>
        <p:style>
          <a:lnRef idx="1">
            <a:schemeClr val="accent1"/>
          </a:lnRef>
          <a:fillRef idx="0">
            <a:schemeClr val="accent1"/>
          </a:fillRef>
          <a:effectRef idx="0">
            <a:schemeClr val="accent1"/>
          </a:effectRef>
          <a:fontRef idx="minor">
            <a:schemeClr val="tx1"/>
          </a:fontRef>
        </p:style>
      </p:cxnSp>
      <p:sp>
        <p:nvSpPr>
          <p:cNvPr id="13" name="矩形: 圆角 12"/>
          <p:cNvSpPr/>
          <p:nvPr userDrawn="1"/>
        </p:nvSpPr>
        <p:spPr>
          <a:xfrm>
            <a:off x="8159751" y="1362836"/>
            <a:ext cx="3462340" cy="3462340"/>
          </a:xfrm>
          <a:prstGeom prst="roundRect">
            <a:avLst>
              <a:gd name="adj" fmla="val 5598"/>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sp>
        <p:nvSpPr>
          <p:cNvPr id="17" name="文本框 16"/>
          <p:cNvSpPr txBox="1"/>
          <p:nvPr userDrawn="1"/>
        </p:nvSpPr>
        <p:spPr>
          <a:xfrm>
            <a:off x="987447" y="5138740"/>
            <a:ext cx="2730235" cy="907428"/>
          </a:xfrm>
          <a:prstGeom prst="rect">
            <a:avLst/>
          </a:prstGeom>
          <a:noFill/>
        </p:spPr>
        <p:txBody>
          <a:bodyPr wrap="none" rtlCol="0">
            <a:spAutoFit/>
          </a:bodyPr>
          <a:lstStyle/>
          <a:p>
            <a:pPr algn="ctr">
              <a:lnSpc>
                <a:spcPct val="140000"/>
              </a:lnSpc>
            </a:pPr>
            <a:r>
              <a:rPr lang="zh-CN" altLang="en-US"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在微信访问</a:t>
            </a:r>
            <a:r>
              <a:rPr lang="en-US" altLang="zh-CN"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OneDrive</a:t>
            </a:r>
          </a:p>
          <a:p>
            <a:pPr algn="ctr">
              <a:lnSpc>
                <a:spcPct val="140000"/>
              </a:lnSpc>
            </a:pPr>
            <a:r>
              <a:rPr lang="zh-CN" altLang="en-US"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 「 微软</a:t>
            </a:r>
            <a:r>
              <a:rPr lang="en-US" altLang="zh-CN"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Office</a:t>
            </a:r>
            <a:r>
              <a:rPr lang="zh-CN" altLang="en-US"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文档 」</a:t>
            </a:r>
            <a:endParaRPr lang="en-US" sz="2000" b="1" kern="0" dirty="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p:txBody>
      </p:sp>
      <p:sp>
        <p:nvSpPr>
          <p:cNvPr id="18" name="文本框 17"/>
          <p:cNvSpPr txBox="1"/>
          <p:nvPr userDrawn="1"/>
        </p:nvSpPr>
        <p:spPr>
          <a:xfrm>
            <a:off x="4862328" y="5138740"/>
            <a:ext cx="2467342" cy="907428"/>
          </a:xfrm>
          <a:prstGeom prst="rect">
            <a:avLst/>
          </a:prstGeom>
          <a:noFill/>
        </p:spPr>
        <p:txBody>
          <a:bodyPr wrap="none" rtlCol="0">
            <a:spAutoFit/>
          </a:bodyPr>
          <a:lstStyle/>
          <a:p>
            <a:pPr algn="ctr">
              <a:lnSpc>
                <a:spcPct val="140000"/>
              </a:lnSpc>
            </a:pPr>
            <a:r>
              <a:rPr lang="zh-CN" altLang="en-US"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让你的文档会说话</a:t>
            </a:r>
            <a:endParaRPr lang="en-US" altLang="zh-CN"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a:p>
            <a:pPr algn="ctr">
              <a:lnSpc>
                <a:spcPct val="140000"/>
              </a:lnSpc>
            </a:pPr>
            <a:r>
              <a:rPr lang="zh-CN" altLang="en-US"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 「 微软听听文档 」</a:t>
            </a:r>
          </a:p>
        </p:txBody>
      </p:sp>
      <p:sp>
        <p:nvSpPr>
          <p:cNvPr id="19" name="文本框 18"/>
          <p:cNvSpPr txBox="1"/>
          <p:nvPr userDrawn="1"/>
        </p:nvSpPr>
        <p:spPr>
          <a:xfrm>
            <a:off x="8644425" y="5138740"/>
            <a:ext cx="2492990" cy="907428"/>
          </a:xfrm>
          <a:prstGeom prst="rect">
            <a:avLst/>
          </a:prstGeom>
          <a:noFill/>
        </p:spPr>
        <p:txBody>
          <a:bodyPr wrap="none" rtlCol="0">
            <a:spAutoFit/>
          </a:bodyPr>
          <a:lstStyle/>
          <a:p>
            <a:pPr algn="ctr">
              <a:lnSpc>
                <a:spcPct val="140000"/>
              </a:lnSpc>
            </a:pPr>
            <a:r>
              <a:rPr lang="zh-CN" altLang="en-US"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你的文档创作小助手</a:t>
            </a:r>
            <a:endParaRPr lang="en-US" altLang="zh-CN" sz="2000" kern="0">
              <a:solidFill>
                <a:schemeClr val="bg1">
                  <a:alpha val="77000"/>
                </a:schemeClr>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a:p>
            <a:pPr algn="ctr">
              <a:lnSpc>
                <a:spcPct val="140000"/>
              </a:lnSpc>
            </a:pPr>
            <a:r>
              <a:rPr lang="zh-CN" altLang="en-US"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 「 微软</a:t>
            </a:r>
            <a:r>
              <a:rPr lang="en-US" altLang="zh-CN"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AI</a:t>
            </a:r>
            <a:r>
              <a:rPr lang="zh-CN" altLang="en-US" sz="20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识图 」</a:t>
            </a:r>
          </a:p>
        </p:txBody>
      </p:sp>
      <p:cxnSp>
        <p:nvCxnSpPr>
          <p:cNvPr id="20" name="直接连接符 19"/>
          <p:cNvCxnSpPr/>
          <p:nvPr userDrawn="1"/>
        </p:nvCxnSpPr>
        <p:spPr>
          <a:xfrm>
            <a:off x="4198035" y="5330650"/>
            <a:ext cx="0" cy="65314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userDrawn="1"/>
        </p:nvCxnSpPr>
        <p:spPr>
          <a:xfrm>
            <a:off x="7976215" y="5330650"/>
            <a:ext cx="0" cy="65314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2" name="图片 21">
            <a:hlinkClick r:id="rId2"/>
          </p:cNvPr>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39657" y="6345797"/>
            <a:ext cx="1712686" cy="226074"/>
          </a:xfrm>
          <a:prstGeom prst="rect">
            <a:avLst/>
          </a:prstGeom>
        </p:spPr>
      </p:pic>
      <p:pic>
        <p:nvPicPr>
          <p:cNvPr id="3" name="图片 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28716" y="1726788"/>
            <a:ext cx="2743200" cy="2743200"/>
          </a:xfrm>
          <a:prstGeom prst="rect">
            <a:avLst/>
          </a:prstGeom>
        </p:spPr>
      </p:pic>
      <p:pic>
        <p:nvPicPr>
          <p:cNvPr id="7" name="图片 6"/>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4482" y="1726788"/>
            <a:ext cx="2743200" cy="2743200"/>
          </a:xfrm>
          <a:prstGeom prst="rect">
            <a:avLst/>
          </a:prstGeom>
        </p:spPr>
      </p:pic>
      <p:pic>
        <p:nvPicPr>
          <p:cNvPr id="24" name="图片 23"/>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19320" y="1726788"/>
            <a:ext cx="2743200" cy="27432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p:cNvSpPr/>
          <p:nvPr userDrawn="1"/>
        </p:nvSpPr>
        <p:spPr>
          <a:xfrm flipH="1">
            <a:off x="0" y="0"/>
            <a:ext cx="12192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4687991" y="2215242"/>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4689107" y="3110592"/>
            <a:ext cx="5419185" cy="1015623"/>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7" name="任意多边形: 形状 6"/>
          <p:cNvSpPr/>
          <p:nvPr userDrawn="1"/>
        </p:nvSpPr>
        <p:spPr bwMode="auto">
          <a:xfrm>
            <a:off x="0" y="1699690"/>
            <a:ext cx="12192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91440" tIns="45720" rIns="91440" bIns="45720" numCol="1" anchor="t" anchorCtr="0" compatLnSpc="1">
            <a:noAutofit/>
          </a:bodyPr>
          <a:lstStyle/>
          <a:p>
            <a:endParaRPr lang="zh-CN" altLang="en-US"/>
          </a:p>
        </p:txBody>
      </p:sp>
      <p:sp>
        <p:nvSpPr>
          <p:cNvPr id="8" name="Freeform 5"/>
          <p:cNvSpPr/>
          <p:nvPr userDrawn="1"/>
        </p:nvSpPr>
        <p:spPr bwMode="auto">
          <a:xfrm>
            <a:off x="2743200" y="3636650"/>
            <a:ext cx="94488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91440" tIns="45720" rIns="91440" bIns="45720" numCol="1" anchor="t" anchorCtr="0" compatLnSpc="1"/>
          <a:lstStyle/>
          <a:p>
            <a:endParaRPr lang="zh-CN" altLang="en-US"/>
          </a:p>
        </p:txBody>
      </p:sp>
      <p:sp>
        <p:nvSpPr>
          <p:cNvPr id="9" name="任意多边形: 形状 8"/>
          <p:cNvSpPr/>
          <p:nvPr userDrawn="1"/>
        </p:nvSpPr>
        <p:spPr>
          <a:xfrm flipV="1">
            <a:off x="0" y="4353146"/>
            <a:ext cx="7610576"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形状 11"/>
          <p:cNvSpPr/>
          <p:nvPr userDrawn="1"/>
        </p:nvSpPr>
        <p:spPr>
          <a:xfrm>
            <a:off x="0" y="1"/>
            <a:ext cx="3213100" cy="2886731"/>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5/1</a:t>
            </a:fld>
            <a:endParaRPr lang="zh-CN" altLang="en-US"/>
          </a:p>
        </p:txBody>
      </p:sp>
      <p:sp>
        <p:nvSpPr>
          <p:cNvPr id="4" name="页脚占位符 3"/>
          <p:cNvSpPr>
            <a:spLocks noGrp="1"/>
          </p:cNvSpPr>
          <p:nvPr>
            <p:ph type="ftr" sz="quarter" idx="11"/>
          </p:nvPr>
        </p:nvSpPr>
        <p:spPr/>
        <p:txBody>
          <a:bodyPr/>
          <a:lstStyle/>
          <a:p>
            <a:r>
              <a:rPr lang="en-US" altLang="zh-CN" dirty="0"/>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t>2022/5/1</a:t>
            </a:fld>
            <a:endParaRPr lang="zh-CN" altLang="en-US"/>
          </a:p>
        </p:txBody>
      </p:sp>
      <p:sp>
        <p:nvSpPr>
          <p:cNvPr id="4" name="Footer Placeholder 3"/>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flipH="1">
            <a:off x="0" y="1"/>
            <a:ext cx="12192000" cy="6857999"/>
            <a:chOff x="0" y="1"/>
            <a:chExt cx="12192000" cy="6857999"/>
          </a:xfrm>
        </p:grpSpPr>
        <p:sp>
          <p:nvSpPr>
            <p:cNvPr id="5" name="椭圆 4"/>
            <p:cNvSpPr/>
            <p:nvPr userDrawn="1"/>
          </p:nvSpPr>
          <p:spPr>
            <a:xfrm>
              <a:off x="7698671" y="715249"/>
              <a:ext cx="3530051"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p:cNvSpPr/>
            <p:nvPr userDrawn="1"/>
          </p:nvSpPr>
          <p:spPr bwMode="auto">
            <a:xfrm>
              <a:off x="0" y="1699690"/>
              <a:ext cx="12192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91440" tIns="45720" rIns="91440" bIns="45720" numCol="1" anchor="t" anchorCtr="0" compatLnSpc="1">
              <a:noAutofit/>
            </a:bodyPr>
            <a:lstStyle/>
            <a:p>
              <a:endParaRPr lang="zh-CN" altLang="en-US"/>
            </a:p>
          </p:txBody>
        </p:sp>
        <p:sp>
          <p:nvSpPr>
            <p:cNvPr id="8" name="Freeform 9"/>
            <p:cNvSpPr/>
            <p:nvPr userDrawn="1"/>
          </p:nvSpPr>
          <p:spPr bwMode="auto">
            <a:xfrm>
              <a:off x="5358307" y="2039469"/>
              <a:ext cx="6070237"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91440" tIns="45720" rIns="91440" bIns="45720" numCol="1" anchor="t" anchorCtr="0" compatLnSpc="1"/>
            <a:lstStyle/>
            <a:p>
              <a:endParaRPr lang="zh-CN" altLang="en-US"/>
            </a:p>
          </p:txBody>
        </p:sp>
        <p:sp>
          <p:nvSpPr>
            <p:cNvPr id="9" name="Freeform 5"/>
            <p:cNvSpPr/>
            <p:nvPr userDrawn="1"/>
          </p:nvSpPr>
          <p:spPr bwMode="auto">
            <a:xfrm>
              <a:off x="2743200" y="3636650"/>
              <a:ext cx="94488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91440" tIns="45720" rIns="91440" bIns="45720" numCol="1" anchor="t" anchorCtr="0" compatLnSpc="1"/>
            <a:lstStyle/>
            <a:p>
              <a:endParaRPr lang="zh-CN" altLang="en-US"/>
            </a:p>
          </p:txBody>
        </p:sp>
        <p:sp>
          <p:nvSpPr>
            <p:cNvPr id="10" name="任意多边形: 形状 9"/>
            <p:cNvSpPr/>
            <p:nvPr userDrawn="1"/>
          </p:nvSpPr>
          <p:spPr>
            <a:xfrm>
              <a:off x="0" y="1"/>
              <a:ext cx="4362450"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userDrawn="1"/>
          </p:nvSpPr>
          <p:spPr>
            <a:xfrm>
              <a:off x="934647" y="3122083"/>
              <a:ext cx="2611078"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Freeform 13"/>
            <p:cNvSpPr/>
            <p:nvPr userDrawn="1"/>
          </p:nvSpPr>
          <p:spPr bwMode="auto">
            <a:xfrm>
              <a:off x="1453964" y="1088581"/>
              <a:ext cx="3427706"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91440" tIns="45720" rIns="91440" bIns="45720" numCol="1" anchor="t" anchorCtr="0" compatLnSpc="1"/>
            <a:lstStyle/>
            <a:p>
              <a:endParaRPr lang="zh-CN" altLang="en-US"/>
            </a:p>
          </p:txBody>
        </p:sp>
        <p:sp>
          <p:nvSpPr>
            <p:cNvPr id="14" name="任意多边形: 形状 13"/>
            <p:cNvSpPr/>
            <p:nvPr userDrawn="1"/>
          </p:nvSpPr>
          <p:spPr>
            <a:xfrm flipV="1">
              <a:off x="0" y="4353146"/>
              <a:ext cx="7610576"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 name="矩形 15"/>
          <p:cNvSpPr/>
          <p:nvPr userDrawn="1"/>
        </p:nvSpPr>
        <p:spPr>
          <a:xfrm>
            <a:off x="3268795" y="1030768"/>
            <a:ext cx="5654410"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3382962" y="2034337"/>
            <a:ext cx="5426076"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82962" y="4340573"/>
            <a:ext cx="5426076"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3382963" y="4044302"/>
            <a:ext cx="5426076"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模板使用技巧 1">
    <p:spTree>
      <p:nvGrpSpPr>
        <p:cNvPr id="1" name=""/>
        <p:cNvGrpSpPr/>
        <p:nvPr/>
      </p:nvGrpSpPr>
      <p:grpSpPr>
        <a:xfrm>
          <a:off x="0" y="0"/>
          <a:ext cx="0" cy="0"/>
          <a:chOff x="0" y="0"/>
          <a:chExt cx="0" cy="0"/>
        </a:xfrm>
      </p:grpSpPr>
      <p:sp>
        <p:nvSpPr>
          <p:cNvPr id="4" name="矩形 3"/>
          <p:cNvSpPr/>
          <p:nvPr userDrawn="1"/>
        </p:nvSpPr>
        <p:spPr>
          <a:xfrm>
            <a:off x="440603" y="759873"/>
            <a:ext cx="1713931" cy="369332"/>
          </a:xfrm>
          <a:prstGeom prst="rect">
            <a:avLst/>
          </a:prstGeom>
        </p:spPr>
        <p:txBody>
          <a:bodyPr wrap="none">
            <a:spAutoFit/>
          </a:bodyPr>
          <a:lstStyle/>
          <a:p>
            <a:pPr defTabSz="609600"/>
            <a:r>
              <a:rPr lang="zh-CN" altLang="en-US" sz="1800">
                <a:solidFill>
                  <a:schemeClr val="tx1">
                    <a:lumMod val="75000"/>
                    <a:lumOff val="25000"/>
                  </a:schemeClr>
                </a:solidFill>
                <a:latin typeface="Segoe UI Light" panose="020B0502040204020203"/>
                <a:ea typeface="微软雅黑" panose="020B0503020204020204" charset="-122"/>
                <a:cs typeface="Segoe UI Light" panose="020B0502040204020203"/>
              </a:rPr>
              <a:t>模板使用技巧</a:t>
            </a:r>
            <a:r>
              <a:rPr lang="en-US" altLang="zh-CN" sz="1800">
                <a:solidFill>
                  <a:schemeClr val="tx1">
                    <a:lumMod val="75000"/>
                    <a:lumOff val="25000"/>
                  </a:schemeClr>
                </a:solidFill>
                <a:latin typeface="Segoe UI Light" panose="020B0502040204020203"/>
                <a:ea typeface="微软雅黑" panose="020B0503020204020204" charset="-122"/>
                <a:cs typeface="Segoe UI Light" panose="020B0502040204020203"/>
              </a:rPr>
              <a:t> 1</a:t>
            </a:r>
            <a:endParaRPr lang="zh-CN" altLang="en-US" sz="1800" dirty="0">
              <a:solidFill>
                <a:schemeClr val="tx1">
                  <a:lumMod val="75000"/>
                  <a:lumOff val="25000"/>
                </a:schemeClr>
              </a:solidFill>
              <a:latin typeface="Segoe UI Light" panose="020B0502040204020203"/>
              <a:ea typeface="微软雅黑" panose="020B0503020204020204" charset="-122"/>
              <a:cs typeface="Segoe UI Light" panose="020B0502040204020203"/>
            </a:endParaRPr>
          </a:p>
        </p:txBody>
      </p:sp>
      <p:sp>
        <p:nvSpPr>
          <p:cNvPr id="5" name="矩形 4"/>
          <p:cNvSpPr/>
          <p:nvPr userDrawn="1"/>
        </p:nvSpPr>
        <p:spPr>
          <a:xfrm>
            <a:off x="440603" y="182445"/>
            <a:ext cx="777777" cy="246221"/>
          </a:xfrm>
          <a:prstGeom prst="rect">
            <a:avLst/>
          </a:prstGeom>
        </p:spPr>
        <p:txBody>
          <a:bodyPr wrap="none">
            <a:spAutoFit/>
          </a:bodyPr>
          <a:lstStyle/>
          <a:p>
            <a:pPr defTabSz="609600"/>
            <a:r>
              <a:rPr kumimoji="1" lang="en-US" altLang="zh-CN" sz="1000" dirty="0">
                <a:solidFill>
                  <a:schemeClr val="tx1">
                    <a:lumMod val="75000"/>
                    <a:lumOff val="25000"/>
                  </a:schemeClr>
                </a:solidFill>
                <a:latin typeface="Segoe UI Light" panose="020B0502040204020203"/>
                <a:ea typeface="微软雅黑" panose="020B0503020204020204" charset="-122"/>
                <a:cs typeface="Segoe UI Light" panose="020B0502040204020203"/>
              </a:rPr>
              <a:t>OfficePLUS</a:t>
            </a:r>
            <a:endParaRPr lang="zh-CN" altLang="en-US" sz="1000" dirty="0">
              <a:solidFill>
                <a:schemeClr val="tx1">
                  <a:lumMod val="75000"/>
                  <a:lumOff val="25000"/>
                </a:schemeClr>
              </a:solidFill>
              <a:latin typeface="Segoe UI Light" panose="020B0502040204020203"/>
              <a:ea typeface="微软雅黑" panose="020B0503020204020204" charset="-122"/>
              <a:cs typeface="Segoe UI Light" panose="020B0502040204020203"/>
            </a:endParaRPr>
          </a:p>
        </p:txBody>
      </p:sp>
      <p:sp>
        <p:nvSpPr>
          <p:cNvPr id="9" name="文本框 8"/>
          <p:cNvSpPr txBox="1"/>
          <p:nvPr userDrawn="1"/>
        </p:nvSpPr>
        <p:spPr>
          <a:xfrm>
            <a:off x="431800" y="1174234"/>
            <a:ext cx="3467616" cy="584775"/>
          </a:xfrm>
          <a:prstGeom prst="rect">
            <a:avLst/>
          </a:prstGeom>
          <a:noFill/>
        </p:spPr>
        <p:txBody>
          <a:bodyPr wrap="none" rtlCol="0">
            <a:spAutoFit/>
          </a:bodyPr>
          <a:lstStyle/>
          <a:p>
            <a:r>
              <a:rPr lang="zh-CN" altLang="en-US" sz="3200" b="1">
                <a:solidFill>
                  <a:schemeClr val="tx1">
                    <a:lumMod val="85000"/>
                    <a:lumOff val="15000"/>
                  </a:schemeClr>
                </a:solidFill>
                <a:latin typeface="微软雅黑" panose="020B0503020204020204" charset="-122"/>
                <a:ea typeface="微软雅黑" panose="020B0503020204020204" charset="-122"/>
              </a:rPr>
              <a:t>一键调整模板颜色</a:t>
            </a:r>
            <a:endParaRPr lang="en-US" sz="3200" b="1">
              <a:solidFill>
                <a:schemeClr val="tx1">
                  <a:lumMod val="85000"/>
                  <a:lumOff val="15000"/>
                </a:schemeClr>
              </a:solidFill>
              <a:latin typeface="微软雅黑" panose="020B0503020204020204" charset="-122"/>
              <a:ea typeface="微软雅黑" panose="020B0503020204020204" charset="-122"/>
            </a:endParaRPr>
          </a:p>
        </p:txBody>
      </p:sp>
      <p:pic>
        <p:nvPicPr>
          <p:cNvPr id="10" name="图片 9"/>
          <p:cNvPicPr>
            <a:picLocks noChangeAspect="1"/>
          </p:cNvPicPr>
          <p:nvPr userDrawn="1"/>
        </p:nvPicPr>
        <p:blipFill>
          <a:blip r:embed="rId2"/>
          <a:stretch>
            <a:fillRect/>
          </a:stretch>
        </p:blipFill>
        <p:spPr>
          <a:xfrm>
            <a:off x="431800" y="2138895"/>
            <a:ext cx="5295899" cy="3847021"/>
          </a:xfrm>
          <a:prstGeom prst="rect">
            <a:avLst/>
          </a:prstGeom>
          <a:ln>
            <a:solidFill>
              <a:schemeClr val="bg1">
                <a:lumMod val="65000"/>
              </a:schemeClr>
            </a:solidFill>
          </a:ln>
        </p:spPr>
      </p:pic>
      <p:pic>
        <p:nvPicPr>
          <p:cNvPr id="11" name="图片 10"/>
          <p:cNvPicPr>
            <a:picLocks noChangeAspect="1"/>
          </p:cNvPicPr>
          <p:nvPr userDrawn="1"/>
        </p:nvPicPr>
        <p:blipFill>
          <a:blip r:embed="rId3"/>
          <a:stretch>
            <a:fillRect/>
          </a:stretch>
        </p:blipFill>
        <p:spPr>
          <a:xfrm>
            <a:off x="6464300" y="2138895"/>
            <a:ext cx="5295900" cy="3847022"/>
          </a:xfrm>
          <a:prstGeom prst="rect">
            <a:avLst/>
          </a:prstGeom>
          <a:ln>
            <a:solidFill>
              <a:schemeClr val="bg1">
                <a:lumMod val="65000"/>
              </a:schemeClr>
            </a:solidFill>
          </a:ln>
        </p:spPr>
      </p:pic>
      <p:sp>
        <p:nvSpPr>
          <p:cNvPr id="12" name="文本框 11"/>
          <p:cNvSpPr txBox="1"/>
          <p:nvPr userDrawn="1"/>
        </p:nvSpPr>
        <p:spPr>
          <a:xfrm>
            <a:off x="333477" y="6061002"/>
            <a:ext cx="3183885" cy="276999"/>
          </a:xfrm>
          <a:prstGeom prst="rect">
            <a:avLst/>
          </a:prstGeom>
          <a:noFill/>
        </p:spPr>
        <p:txBody>
          <a:bodyPr wrap="none" rtlCol="0">
            <a:spAutoFit/>
          </a:bodyPr>
          <a:lstStyle/>
          <a:p>
            <a:r>
              <a:rPr lang="en-US" sz="1200" spc="150">
                <a:latin typeface="微软雅黑" panose="020B0503020204020204" charset="-122"/>
                <a:ea typeface="微软雅黑" panose="020B0503020204020204" charset="-122"/>
              </a:rPr>
              <a:t>1.</a:t>
            </a:r>
            <a:r>
              <a:rPr lang="zh-CN" altLang="en-US" sz="1200" spc="150">
                <a:latin typeface="微软雅黑" panose="020B0503020204020204" charset="-122"/>
                <a:ea typeface="微软雅黑" panose="020B0503020204020204" charset="-122"/>
              </a:rPr>
              <a:t> 选择“设计”</a:t>
            </a:r>
            <a:r>
              <a:rPr lang="en-US" altLang="zh-CN" sz="1200" spc="150">
                <a:latin typeface="微软雅黑" panose="020B0503020204020204" charset="-122"/>
                <a:ea typeface="微软雅黑" panose="020B0503020204020204" charset="-122"/>
              </a:rPr>
              <a:t>-</a:t>
            </a:r>
            <a:r>
              <a:rPr lang="zh-CN" altLang="en-US" sz="1200" spc="150">
                <a:latin typeface="微软雅黑" panose="020B0503020204020204" charset="-122"/>
                <a:ea typeface="微软雅黑" panose="020B0503020204020204" charset="-122"/>
              </a:rPr>
              <a:t>“变体”</a:t>
            </a:r>
            <a:r>
              <a:rPr lang="en-US" altLang="zh-CN" sz="1200" spc="150">
                <a:latin typeface="微软雅黑" panose="020B0503020204020204" charset="-122"/>
                <a:ea typeface="微软雅黑" panose="020B0503020204020204" charset="-122"/>
              </a:rPr>
              <a:t>-</a:t>
            </a:r>
            <a:r>
              <a:rPr lang="zh-CN" altLang="en-US" sz="1200" spc="150">
                <a:latin typeface="微软雅黑" panose="020B0503020204020204" charset="-122"/>
                <a:ea typeface="微软雅黑" panose="020B0503020204020204" charset="-122"/>
              </a:rPr>
              <a:t>“颜色”；</a:t>
            </a:r>
            <a:endParaRPr lang="en-US" sz="1200" spc="150">
              <a:latin typeface="微软雅黑" panose="020B0503020204020204" charset="-122"/>
              <a:ea typeface="微软雅黑" panose="020B0503020204020204" charset="-122"/>
            </a:endParaRPr>
          </a:p>
        </p:txBody>
      </p:sp>
      <p:sp>
        <p:nvSpPr>
          <p:cNvPr id="13" name="文本框 12"/>
          <p:cNvSpPr txBox="1"/>
          <p:nvPr userDrawn="1"/>
        </p:nvSpPr>
        <p:spPr>
          <a:xfrm>
            <a:off x="6360651" y="6061002"/>
            <a:ext cx="4562467" cy="276999"/>
          </a:xfrm>
          <a:prstGeom prst="rect">
            <a:avLst/>
          </a:prstGeom>
          <a:noFill/>
        </p:spPr>
        <p:txBody>
          <a:bodyPr wrap="none" rtlCol="0">
            <a:spAutoFit/>
          </a:bodyPr>
          <a:lstStyle/>
          <a:p>
            <a:r>
              <a:rPr lang="en-US" sz="1200" spc="150">
                <a:latin typeface="微软雅黑" panose="020B0503020204020204" charset="-122"/>
                <a:ea typeface="微软雅黑" panose="020B0503020204020204" charset="-122"/>
              </a:rPr>
              <a:t>2.</a:t>
            </a:r>
            <a:r>
              <a:rPr lang="zh-CN" altLang="en-US" sz="1200" spc="150">
                <a:latin typeface="微软雅黑" panose="020B0503020204020204" charset="-122"/>
                <a:ea typeface="微软雅黑" panose="020B0503020204020204" charset="-122"/>
              </a:rPr>
              <a:t> 选择你喜欢的颜色搭配，模板一秒调整为你选颜色。</a:t>
            </a:r>
            <a:endParaRPr lang="en-US" sz="1200" spc="150">
              <a:latin typeface="微软雅黑" panose="020B0503020204020204" charset="-122"/>
              <a:ea typeface="微软雅黑" panose="020B0503020204020204" charset="-122"/>
            </a:endParaRPr>
          </a:p>
        </p:txBody>
      </p:sp>
      <p:pic>
        <p:nvPicPr>
          <p:cNvPr id="14" name="图片 13"/>
          <p:cNvPicPr>
            <a:picLocks noChangeAspect="1"/>
          </p:cNvPicPr>
          <p:nvPr userDrawn="1"/>
        </p:nvPicPr>
        <p:blipFill>
          <a:blip r:embed="rId4"/>
          <a:stretch>
            <a:fillRect/>
          </a:stretch>
        </p:blipFill>
        <p:spPr>
          <a:xfrm>
            <a:off x="3005928" y="2609333"/>
            <a:ext cx="819667" cy="819667"/>
          </a:xfrm>
          <a:prstGeom prst="rect">
            <a:avLst/>
          </a:prstGeom>
          <a:effectLst>
            <a:outerShdw blurRad="50800" dist="38100" dir="2700000" algn="tl" rotWithShape="0">
              <a:prstClr val="black">
                <a:alpha val="40000"/>
              </a:prstClr>
            </a:outerShdw>
          </a:effectLst>
        </p:spPr>
      </p:pic>
      <p:pic>
        <p:nvPicPr>
          <p:cNvPr id="15" name="图片 14"/>
          <p:cNvPicPr>
            <a:picLocks noChangeAspect="1"/>
          </p:cNvPicPr>
          <p:nvPr userDrawn="1"/>
        </p:nvPicPr>
        <p:blipFill>
          <a:blip r:embed="rId4"/>
          <a:stretch>
            <a:fillRect/>
          </a:stretch>
        </p:blipFill>
        <p:spPr>
          <a:xfrm>
            <a:off x="10787853" y="4257158"/>
            <a:ext cx="819667" cy="819667"/>
          </a:xfrm>
          <a:prstGeom prst="rect">
            <a:avLst/>
          </a:prstGeom>
          <a:effectLst>
            <a:outerShdw blurRad="50800" dist="38100" dir="2700000" algn="tl" rotWithShape="0">
              <a:prstClr val="black">
                <a:alpha val="40000"/>
              </a:prstClr>
            </a:outerShdw>
          </a:effec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模板使用技巧 2">
    <p:spTree>
      <p:nvGrpSpPr>
        <p:cNvPr id="1" name=""/>
        <p:cNvGrpSpPr/>
        <p:nvPr/>
      </p:nvGrpSpPr>
      <p:grpSpPr>
        <a:xfrm>
          <a:off x="0" y="0"/>
          <a:ext cx="0" cy="0"/>
          <a:chOff x="0" y="0"/>
          <a:chExt cx="0" cy="0"/>
        </a:xfrm>
      </p:grpSpPr>
      <p:sp>
        <p:nvSpPr>
          <p:cNvPr id="3" name="矩形 2"/>
          <p:cNvSpPr/>
          <p:nvPr userDrawn="1"/>
        </p:nvSpPr>
        <p:spPr>
          <a:xfrm>
            <a:off x="440603" y="759873"/>
            <a:ext cx="1750800" cy="369332"/>
          </a:xfrm>
          <a:prstGeom prst="rect">
            <a:avLst/>
          </a:prstGeom>
        </p:spPr>
        <p:txBody>
          <a:bodyPr wrap="none">
            <a:spAutoFit/>
          </a:bodyPr>
          <a:lstStyle/>
          <a:p>
            <a:pPr defTabSz="609600"/>
            <a:r>
              <a:rPr lang="zh-CN" altLang="en-US" sz="1800">
                <a:solidFill>
                  <a:schemeClr val="tx1">
                    <a:lumMod val="75000"/>
                    <a:lumOff val="25000"/>
                  </a:schemeClr>
                </a:solidFill>
                <a:latin typeface="Segoe UI Light" panose="020B0502040204020203"/>
                <a:ea typeface="微软雅黑" panose="020B0503020204020204" charset="-122"/>
                <a:cs typeface="Segoe UI Light" panose="020B0502040204020203"/>
              </a:rPr>
              <a:t>模板使用技巧</a:t>
            </a:r>
            <a:r>
              <a:rPr lang="en-US" altLang="zh-CN" sz="1800">
                <a:solidFill>
                  <a:schemeClr val="tx1">
                    <a:lumMod val="75000"/>
                    <a:lumOff val="25000"/>
                  </a:schemeClr>
                </a:solidFill>
                <a:latin typeface="Segoe UI Light" panose="020B0502040204020203"/>
                <a:ea typeface="微软雅黑" panose="020B0503020204020204" charset="-122"/>
                <a:cs typeface="Segoe UI Light" panose="020B0502040204020203"/>
              </a:rPr>
              <a:t> 2</a:t>
            </a:r>
            <a:endParaRPr lang="zh-CN" altLang="en-US" sz="1800" dirty="0">
              <a:solidFill>
                <a:schemeClr val="tx1">
                  <a:lumMod val="75000"/>
                  <a:lumOff val="25000"/>
                </a:schemeClr>
              </a:solidFill>
              <a:latin typeface="Segoe UI Light" panose="020B0502040204020203"/>
              <a:ea typeface="微软雅黑" panose="020B0503020204020204" charset="-122"/>
              <a:cs typeface="Segoe UI Light" panose="020B0502040204020203"/>
            </a:endParaRPr>
          </a:p>
        </p:txBody>
      </p:sp>
      <p:sp>
        <p:nvSpPr>
          <p:cNvPr id="4" name="矩形 3"/>
          <p:cNvSpPr/>
          <p:nvPr userDrawn="1"/>
        </p:nvSpPr>
        <p:spPr>
          <a:xfrm>
            <a:off x="440603" y="182445"/>
            <a:ext cx="777777" cy="246221"/>
          </a:xfrm>
          <a:prstGeom prst="rect">
            <a:avLst/>
          </a:prstGeom>
        </p:spPr>
        <p:txBody>
          <a:bodyPr wrap="none">
            <a:spAutoFit/>
          </a:bodyPr>
          <a:lstStyle/>
          <a:p>
            <a:pPr defTabSz="609600"/>
            <a:r>
              <a:rPr kumimoji="1" lang="en-US" altLang="zh-CN" sz="1000" dirty="0">
                <a:solidFill>
                  <a:schemeClr val="tx1">
                    <a:lumMod val="75000"/>
                    <a:lumOff val="25000"/>
                  </a:schemeClr>
                </a:solidFill>
                <a:latin typeface="Segoe UI Light" panose="020B0502040204020203"/>
                <a:ea typeface="微软雅黑" panose="020B0503020204020204" charset="-122"/>
                <a:cs typeface="Segoe UI Light" panose="020B0502040204020203"/>
              </a:rPr>
              <a:t>OfficePLUS</a:t>
            </a:r>
            <a:endParaRPr lang="zh-CN" altLang="en-US" sz="1000" dirty="0">
              <a:solidFill>
                <a:schemeClr val="tx1">
                  <a:lumMod val="75000"/>
                  <a:lumOff val="25000"/>
                </a:schemeClr>
              </a:solidFill>
              <a:latin typeface="Segoe UI Light" panose="020B0502040204020203"/>
              <a:ea typeface="微软雅黑" panose="020B0503020204020204" charset="-122"/>
              <a:cs typeface="Segoe UI Light" panose="020B0502040204020203"/>
            </a:endParaRPr>
          </a:p>
        </p:txBody>
      </p:sp>
      <p:pic>
        <p:nvPicPr>
          <p:cNvPr id="5" name="图片 4"/>
          <p:cNvPicPr>
            <a:picLocks noChangeAspect="1"/>
          </p:cNvPicPr>
          <p:nvPr userDrawn="1"/>
        </p:nvPicPr>
        <p:blipFill>
          <a:blip r:embed="rId2"/>
          <a:stretch>
            <a:fillRect/>
          </a:stretch>
        </p:blipFill>
        <p:spPr>
          <a:xfrm>
            <a:off x="431800" y="2138895"/>
            <a:ext cx="5295899" cy="3847021"/>
          </a:xfrm>
          <a:prstGeom prst="rect">
            <a:avLst/>
          </a:prstGeom>
          <a:ln>
            <a:solidFill>
              <a:schemeClr val="bg1">
                <a:lumMod val="65000"/>
              </a:schemeClr>
            </a:solidFill>
          </a:ln>
        </p:spPr>
      </p:pic>
      <p:pic>
        <p:nvPicPr>
          <p:cNvPr id="6" name="图片 5"/>
          <p:cNvPicPr>
            <a:picLocks noChangeAspect="1"/>
          </p:cNvPicPr>
          <p:nvPr userDrawn="1"/>
        </p:nvPicPr>
        <p:blipFill>
          <a:blip r:embed="rId3"/>
          <a:stretch>
            <a:fillRect/>
          </a:stretch>
        </p:blipFill>
        <p:spPr>
          <a:xfrm>
            <a:off x="6464301" y="2138895"/>
            <a:ext cx="5295900" cy="3847022"/>
          </a:xfrm>
          <a:prstGeom prst="rect">
            <a:avLst/>
          </a:prstGeom>
          <a:ln>
            <a:solidFill>
              <a:schemeClr val="bg1">
                <a:lumMod val="65000"/>
              </a:schemeClr>
            </a:solidFill>
          </a:ln>
        </p:spPr>
      </p:pic>
      <p:sp>
        <p:nvSpPr>
          <p:cNvPr id="7" name="文本框 6"/>
          <p:cNvSpPr txBox="1"/>
          <p:nvPr userDrawn="1"/>
        </p:nvSpPr>
        <p:spPr>
          <a:xfrm>
            <a:off x="431800" y="1174234"/>
            <a:ext cx="3467616" cy="584775"/>
          </a:xfrm>
          <a:prstGeom prst="rect">
            <a:avLst/>
          </a:prstGeom>
          <a:noFill/>
        </p:spPr>
        <p:txBody>
          <a:bodyPr wrap="none" rtlCol="0">
            <a:spAutoFit/>
          </a:bodyPr>
          <a:lstStyle/>
          <a:p>
            <a:r>
              <a:rPr lang="zh-CN" altLang="en-US" sz="3200" b="1">
                <a:solidFill>
                  <a:schemeClr val="tx1">
                    <a:lumMod val="85000"/>
                    <a:lumOff val="15000"/>
                  </a:schemeClr>
                </a:solidFill>
                <a:latin typeface="微软雅黑" panose="020B0503020204020204" charset="-122"/>
                <a:ea typeface="微软雅黑" panose="020B0503020204020204" charset="-122"/>
              </a:rPr>
              <a:t>随时添加模板样式</a:t>
            </a:r>
            <a:endParaRPr lang="en-US" sz="3200" b="1">
              <a:solidFill>
                <a:schemeClr val="tx1">
                  <a:lumMod val="85000"/>
                  <a:lumOff val="15000"/>
                </a:schemeClr>
              </a:solidFill>
              <a:latin typeface="微软雅黑" panose="020B0503020204020204" charset="-122"/>
              <a:ea typeface="微软雅黑" panose="020B0503020204020204" charset="-122"/>
            </a:endParaRPr>
          </a:p>
        </p:txBody>
      </p:sp>
      <p:sp>
        <p:nvSpPr>
          <p:cNvPr id="8" name="文本框 7"/>
          <p:cNvSpPr txBox="1"/>
          <p:nvPr userDrawn="1"/>
        </p:nvSpPr>
        <p:spPr>
          <a:xfrm>
            <a:off x="333477" y="6061002"/>
            <a:ext cx="3010761" cy="276999"/>
          </a:xfrm>
          <a:prstGeom prst="rect">
            <a:avLst/>
          </a:prstGeom>
          <a:noFill/>
        </p:spPr>
        <p:txBody>
          <a:bodyPr wrap="none" rtlCol="0">
            <a:spAutoFit/>
          </a:bodyPr>
          <a:lstStyle/>
          <a:p>
            <a:r>
              <a:rPr lang="en-US" sz="1200" spc="150">
                <a:latin typeface="微软雅黑" panose="020B0503020204020204" charset="-122"/>
                <a:ea typeface="微软雅黑" panose="020B0503020204020204" charset="-122"/>
              </a:rPr>
              <a:t>1.</a:t>
            </a:r>
            <a:r>
              <a:rPr lang="zh-CN" altLang="en-US" sz="1200" spc="150">
                <a:latin typeface="微软雅黑" panose="020B0503020204020204" charset="-122"/>
                <a:ea typeface="微软雅黑" panose="020B0503020204020204" charset="-122"/>
              </a:rPr>
              <a:t> 选择“开始”</a:t>
            </a:r>
            <a:r>
              <a:rPr lang="en-US" altLang="zh-CN" sz="1200" spc="150">
                <a:latin typeface="微软雅黑" panose="020B0503020204020204" charset="-122"/>
                <a:ea typeface="微软雅黑" panose="020B0503020204020204" charset="-122"/>
              </a:rPr>
              <a:t>-</a:t>
            </a:r>
            <a:r>
              <a:rPr lang="zh-CN" altLang="en-US" sz="1200" spc="150">
                <a:latin typeface="微软雅黑" panose="020B0503020204020204" charset="-122"/>
                <a:ea typeface="微软雅黑" panose="020B0503020204020204" charset="-122"/>
              </a:rPr>
              <a:t>“新建幻灯片”；</a:t>
            </a:r>
            <a:endParaRPr lang="en-US" sz="1200" spc="150">
              <a:latin typeface="微软雅黑" panose="020B0503020204020204" charset="-122"/>
              <a:ea typeface="微软雅黑" panose="020B0503020204020204" charset="-122"/>
            </a:endParaRPr>
          </a:p>
        </p:txBody>
      </p:sp>
      <p:sp>
        <p:nvSpPr>
          <p:cNvPr id="9" name="文本框 8"/>
          <p:cNvSpPr txBox="1"/>
          <p:nvPr userDrawn="1"/>
        </p:nvSpPr>
        <p:spPr>
          <a:xfrm>
            <a:off x="6360651" y="6061002"/>
            <a:ext cx="5256567" cy="276999"/>
          </a:xfrm>
          <a:prstGeom prst="rect">
            <a:avLst/>
          </a:prstGeom>
          <a:noFill/>
        </p:spPr>
        <p:txBody>
          <a:bodyPr wrap="none" rtlCol="0">
            <a:spAutoFit/>
          </a:bodyPr>
          <a:lstStyle/>
          <a:p>
            <a:r>
              <a:rPr lang="en-US" sz="1200" spc="150">
                <a:latin typeface="微软雅黑" panose="020B0503020204020204" charset="-122"/>
                <a:ea typeface="微软雅黑" panose="020B0503020204020204" charset="-122"/>
              </a:rPr>
              <a:t>2.</a:t>
            </a:r>
            <a:r>
              <a:rPr lang="zh-CN" altLang="en-US" sz="1200" spc="150">
                <a:latin typeface="微软雅黑" panose="020B0503020204020204" charset="-122"/>
                <a:ea typeface="微软雅黑" panose="020B0503020204020204" charset="-122"/>
              </a:rPr>
              <a:t> 选择你需要的页面，如封面页，目录页，副标题页，内容页等</a:t>
            </a:r>
            <a:r>
              <a:rPr lang="en-US" altLang="zh-CN" sz="1200" spc="150">
                <a:latin typeface="微软雅黑" panose="020B0503020204020204" charset="-122"/>
                <a:ea typeface="微软雅黑" panose="020B0503020204020204" charset="-122"/>
              </a:rPr>
              <a:t>…</a:t>
            </a:r>
            <a:endParaRPr lang="en-US" sz="1200" spc="150">
              <a:latin typeface="微软雅黑" panose="020B0503020204020204" charset="-122"/>
              <a:ea typeface="微软雅黑" panose="020B0503020204020204" charset="-122"/>
            </a:endParaRPr>
          </a:p>
        </p:txBody>
      </p:sp>
      <p:pic>
        <p:nvPicPr>
          <p:cNvPr id="10" name="图片 9"/>
          <p:cNvPicPr>
            <a:picLocks noChangeAspect="1"/>
          </p:cNvPicPr>
          <p:nvPr userDrawn="1"/>
        </p:nvPicPr>
        <p:blipFill>
          <a:blip r:embed="rId4"/>
          <a:stretch>
            <a:fillRect/>
          </a:stretch>
        </p:blipFill>
        <p:spPr>
          <a:xfrm>
            <a:off x="700878" y="2428358"/>
            <a:ext cx="819667" cy="819667"/>
          </a:xfrm>
          <a:prstGeom prst="rect">
            <a:avLst/>
          </a:prstGeom>
          <a:effectLst>
            <a:outerShdw blurRad="50800" dist="38100" dir="2700000" algn="tl" rotWithShape="0">
              <a:prstClr val="black">
                <a:alpha val="40000"/>
              </a:prstClr>
            </a:outerShdw>
          </a:effec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关注微软Office文档">
    <p:spTree>
      <p:nvGrpSpPr>
        <p:cNvPr id="1" name=""/>
        <p:cNvGrpSpPr/>
        <p:nvPr/>
      </p:nvGrpSpPr>
      <p:grpSpPr>
        <a:xfrm>
          <a:off x="0" y="0"/>
          <a:ext cx="0" cy="0"/>
          <a:chOff x="0" y="0"/>
          <a:chExt cx="0" cy="0"/>
        </a:xfrm>
      </p:grpSpPr>
      <p:sp>
        <p:nvSpPr>
          <p:cNvPr id="3" name="矩形 2"/>
          <p:cNvSpPr/>
          <p:nvPr userDrawn="1"/>
        </p:nvSpPr>
        <p:spPr>
          <a:xfrm>
            <a:off x="0" y="3429000"/>
            <a:ext cx="12192000" cy="3429000"/>
          </a:xfrm>
          <a:prstGeom prst="rect">
            <a:avLst/>
          </a:prstGeom>
          <a:solidFill>
            <a:srgbClr val="E73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sp>
        <p:nvSpPr>
          <p:cNvPr id="4" name="矩形: 圆角 3"/>
          <p:cNvSpPr/>
          <p:nvPr userDrawn="1"/>
        </p:nvSpPr>
        <p:spPr>
          <a:xfrm>
            <a:off x="1079465" y="1527629"/>
            <a:ext cx="3802742" cy="3802742"/>
          </a:xfrm>
          <a:prstGeom prst="roundRect">
            <a:avLst>
              <a:gd name="adj" fmla="val 5598"/>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en-US" sz="1400" dirty="0">
              <a:latin typeface="微软雅黑" panose="020B0503020204020204" charset="-122"/>
              <a:ea typeface="微软雅黑" panose="020B0503020204020204" charset="-122"/>
            </a:endParaRPr>
          </a:p>
        </p:txBody>
      </p:sp>
      <p:pic>
        <p:nvPicPr>
          <p:cNvPr id="5" name="图片 4" descr="图片包含 纵横字谜, 文字&#10;&#10;已生成极高可信度的说明"/>
          <p:cNvPicPr>
            <a:picLocks noChangeAspect="1"/>
          </p:cNvPicPr>
          <p:nvPr userDrawn="1"/>
        </p:nvPicPr>
        <p:blipFill>
          <a:blip r:embed="rId2">
            <a:clrChange>
              <a:clrFrom>
                <a:srgbClr val="FFFFFF"/>
              </a:clrFrom>
              <a:clrTo>
                <a:srgbClr val="FFFFFF">
                  <a:alpha val="0"/>
                </a:srgbClr>
              </a:clrTo>
            </a:clrChange>
          </a:blip>
          <a:stretch>
            <a:fillRect/>
          </a:stretch>
        </p:blipFill>
        <p:spPr>
          <a:xfrm>
            <a:off x="1308065" y="1756229"/>
            <a:ext cx="3345542" cy="3345542"/>
          </a:xfrm>
          <a:prstGeom prst="rect">
            <a:avLst/>
          </a:prstGeom>
        </p:spPr>
      </p:pic>
      <p:sp>
        <p:nvSpPr>
          <p:cNvPr id="6" name="文本框 5"/>
          <p:cNvSpPr txBox="1"/>
          <p:nvPr userDrawn="1"/>
        </p:nvSpPr>
        <p:spPr>
          <a:xfrm>
            <a:off x="5239657" y="1566506"/>
            <a:ext cx="6013185" cy="3549241"/>
          </a:xfrm>
          <a:prstGeom prst="rect">
            <a:avLst/>
          </a:prstGeom>
          <a:noFill/>
        </p:spPr>
        <p:txBody>
          <a:bodyPr wrap="none" rtlCol="0">
            <a:spAutoFit/>
          </a:bodyPr>
          <a:lstStyle/>
          <a:p>
            <a:pPr>
              <a:lnSpc>
                <a:spcPct val="150000"/>
              </a:lnSpc>
              <a:spcBef>
                <a:spcPts val="600"/>
              </a:spcBef>
            </a:pPr>
            <a:r>
              <a:rPr lang="zh-CN" altLang="en-US" sz="3600" b="1" kern="0">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办公模板更新</a:t>
            </a:r>
            <a:endParaRPr lang="en-US" altLang="zh-CN" sz="3600" b="1" kern="0">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a:p>
            <a:pPr>
              <a:lnSpc>
                <a:spcPct val="150000"/>
              </a:lnSpc>
              <a:spcBef>
                <a:spcPts val="600"/>
              </a:spcBef>
            </a:pPr>
            <a:r>
              <a:rPr lang="zh-CN" altLang="en-US" sz="3600" b="1" kern="0">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微软</a:t>
            </a:r>
            <a:endParaRPr lang="en-US" altLang="zh-CN" sz="3600" b="1" kern="0">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a:p>
            <a:pPr>
              <a:lnSpc>
                <a:spcPct val="150000"/>
              </a:lnSpc>
              <a:spcBef>
                <a:spcPts val="600"/>
              </a:spcBef>
            </a:pPr>
            <a:r>
              <a:rPr lang="zh-CN" altLang="en-US"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微信扫码关注</a:t>
            </a:r>
            <a:endParaRPr lang="en-US" altLang="zh-CN"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a:p>
            <a:pPr>
              <a:lnSpc>
                <a:spcPct val="150000"/>
              </a:lnSpc>
              <a:spcBef>
                <a:spcPts val="600"/>
              </a:spcBef>
            </a:pPr>
            <a:r>
              <a:rPr lang="zh-CN" altLang="en-US"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 微软</a:t>
            </a:r>
            <a:r>
              <a:rPr lang="en-US" altLang="zh-CN"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Office</a:t>
            </a:r>
            <a:r>
              <a:rPr lang="zh-CN" altLang="en-US"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rPr>
              <a:t>文档 」服务号</a:t>
            </a:r>
            <a:endParaRPr lang="en-US" altLang="zh-CN" sz="3600" b="1" kern="0">
              <a:solidFill>
                <a:schemeClr val="bg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ea"/>
              <a:sym typeface="+mn-lt"/>
            </a:endParaRPr>
          </a:p>
        </p:txBody>
      </p:sp>
      <p:pic>
        <p:nvPicPr>
          <p:cNvPr id="7" name="图片 6">
            <a:hlinkClick r:id="rId3"/>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39657" y="6345797"/>
            <a:ext cx="1712686" cy="226074"/>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5/1</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3.pn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4.xml"/><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6" imgW="9525" imgH="9525" progId="TCLayout.ActiveDocument.1">
                  <p:embed/>
                </p:oleObj>
              </mc:Choice>
              <mc:Fallback>
                <p:oleObj name="think-cell Slide" r:id="rId6" imgW="9525" imgH="9525" progId="TCLayout.ActiveDocument.1">
                  <p:embed/>
                  <p:pic>
                    <p:nvPicPr>
                      <p:cNvPr id="0"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charset="-122"/>
              <a:cs typeface="+mj-cs"/>
              <a:sym typeface="Arial" panose="020B0604020202020204" pitchFamily="34" charset="0"/>
            </a:endParaRPr>
          </a:p>
        </p:txBody>
      </p:sp>
      <p:sp>
        <p:nvSpPr>
          <p:cNvPr id="5" name="副标题 4"/>
          <p:cNvSpPr>
            <a:spLocks noGrp="1"/>
          </p:cNvSpPr>
          <p:nvPr>
            <p:ph type="subTitle" idx="1"/>
          </p:nvPr>
        </p:nvSpPr>
        <p:spPr>
          <a:xfrm>
            <a:off x="3268795" y="3429000"/>
            <a:ext cx="5654410" cy="558799"/>
          </a:xfrm>
        </p:spPr>
        <p:txBody>
          <a:bodyPr/>
          <a:lstStyle/>
          <a:p>
            <a:r>
              <a:rPr lang="en-US" altLang="zh-CN" dirty="0"/>
              <a:t>M5 Forecasting: Accuracy &amp; Uncertainty</a:t>
            </a:r>
          </a:p>
        </p:txBody>
      </p:sp>
      <p:sp>
        <p:nvSpPr>
          <p:cNvPr id="4" name="标题 3"/>
          <p:cNvSpPr>
            <a:spLocks noGrp="1"/>
          </p:cNvSpPr>
          <p:nvPr>
            <p:ph type="ctrTitle"/>
          </p:nvPr>
        </p:nvSpPr>
        <p:spPr/>
        <p:txBody>
          <a:bodyPr/>
          <a:lstStyle/>
          <a:p>
            <a:r>
              <a:rPr lang="en-US" altLang="zh-CN" dirty="0"/>
              <a:t>MSBD5013 Final Project Presentation</a:t>
            </a:r>
            <a:endParaRPr lang="zh-CN" altLang="en-US" dirty="0"/>
          </a:p>
        </p:txBody>
      </p:sp>
      <p:sp>
        <p:nvSpPr>
          <p:cNvPr id="6" name="文本占位符 5"/>
          <p:cNvSpPr>
            <a:spLocks noGrp="1"/>
          </p:cNvSpPr>
          <p:nvPr>
            <p:ph type="body" sz="quarter" idx="10"/>
          </p:nvPr>
        </p:nvSpPr>
        <p:spPr>
          <a:xfrm>
            <a:off x="5429867" y="4092814"/>
            <a:ext cx="5654410" cy="844684"/>
          </a:xfrm>
        </p:spPr>
        <p:txBody>
          <a:bodyPr/>
          <a:lstStyle/>
          <a:p>
            <a:r>
              <a:rPr lang="en-US" altLang="zh-CN" dirty="0"/>
              <a:t> </a:t>
            </a:r>
          </a:p>
          <a:p>
            <a:pPr algn="l"/>
            <a:r>
              <a:rPr lang="en-US" altLang="zh-CN" dirty="0"/>
              <a:t>LU Fei	20797386</a:t>
            </a:r>
          </a:p>
          <a:p>
            <a:pPr algn="l"/>
            <a:r>
              <a:rPr lang="en-US" altLang="zh-CN" dirty="0"/>
              <a:t>XIONG Yi	20787642</a:t>
            </a:r>
          </a:p>
          <a:p>
            <a:pPr algn="l"/>
            <a:r>
              <a:rPr lang="en-US" altLang="zh-CN" dirty="0"/>
              <a:t>ZHENG Hao 20797594</a:t>
            </a:r>
          </a:p>
        </p:txBody>
      </p:sp>
      <p:sp>
        <p:nvSpPr>
          <p:cNvPr id="10" name="文本框 9"/>
          <p:cNvSpPr txBox="1"/>
          <p:nvPr/>
        </p:nvSpPr>
        <p:spPr>
          <a:xfrm>
            <a:off x="3761771" y="4145824"/>
            <a:ext cx="1273216" cy="369332"/>
          </a:xfrm>
          <a:prstGeom prst="rect">
            <a:avLst/>
          </a:prstGeom>
          <a:noFill/>
        </p:spPr>
        <p:txBody>
          <a:bodyPr wrap="square" rtlCol="0">
            <a:spAutoFit/>
          </a:bodyPr>
          <a:lstStyle/>
          <a:p>
            <a:pPr algn="ctr"/>
            <a:r>
              <a:rPr kumimoji="1" lang="en-US" altLang="zh-CN" dirty="0"/>
              <a:t>Group 4</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 LightGBM</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a:t>
            </a:fld>
            <a:endParaRPr lang="zh-CN" altLang="en-US"/>
          </a:p>
        </p:txBody>
      </p:sp>
      <p:grpSp>
        <p:nvGrpSpPr>
          <p:cNvPr id="5" name="f66dfd7e-daf7-4158-a6ac-93997a64ed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10618" y="1377950"/>
            <a:ext cx="10937243" cy="3549015"/>
            <a:chOff x="581659" y="1377950"/>
            <a:chExt cx="10937243" cy="3549015"/>
          </a:xfrm>
        </p:grpSpPr>
        <p:grpSp>
          <p:nvGrpSpPr>
            <p:cNvPr id="6" name="iś1iḓê"/>
            <p:cNvGrpSpPr/>
            <p:nvPr/>
          </p:nvGrpSpPr>
          <p:grpSpPr>
            <a:xfrm>
              <a:off x="3851174" y="2819401"/>
              <a:ext cx="4489654" cy="1654819"/>
              <a:chOff x="3276180" y="2756199"/>
              <a:chExt cx="5639641" cy="2078686"/>
            </a:xfrm>
          </p:grpSpPr>
          <p:sp>
            <p:nvSpPr>
              <p:cNvPr id="22" name="îšľiďé"/>
              <p:cNvSpPr/>
              <p:nvPr/>
            </p:nvSpPr>
            <p:spPr bwMode="auto">
              <a:xfrm rot="5400000">
                <a:off x="7870207" y="3789271"/>
                <a:ext cx="1359719" cy="731509"/>
              </a:xfrm>
              <a:custGeom>
                <a:avLst/>
                <a:gdLst>
                  <a:gd name="T0" fmla="*/ 462 w 920"/>
                  <a:gd name="T1" fmla="*/ 0 h 396"/>
                  <a:gd name="T2" fmla="*/ 0 w 920"/>
                  <a:gd name="T3" fmla="*/ 396 h 396"/>
                  <a:gd name="T4" fmla="*/ 462 w 920"/>
                  <a:gd name="T5" fmla="*/ 396 h 396"/>
                  <a:gd name="T6" fmla="*/ 920 w 920"/>
                  <a:gd name="T7" fmla="*/ 396 h 396"/>
                  <a:gd name="T8" fmla="*/ 462 w 920"/>
                  <a:gd name="T9" fmla="*/ 0 h 396"/>
                </a:gdLst>
                <a:ahLst/>
                <a:cxnLst>
                  <a:cxn ang="0">
                    <a:pos x="T0" y="T1"/>
                  </a:cxn>
                  <a:cxn ang="0">
                    <a:pos x="T2" y="T3"/>
                  </a:cxn>
                  <a:cxn ang="0">
                    <a:pos x="T4" y="T5"/>
                  </a:cxn>
                  <a:cxn ang="0">
                    <a:pos x="T6" y="T7"/>
                  </a:cxn>
                  <a:cxn ang="0">
                    <a:pos x="T8" y="T9"/>
                  </a:cxn>
                </a:cxnLst>
                <a:rect l="0" t="0" r="r" b="b"/>
                <a:pathLst>
                  <a:path w="920" h="396">
                    <a:moveTo>
                      <a:pt x="462" y="0"/>
                    </a:moveTo>
                    <a:lnTo>
                      <a:pt x="0" y="396"/>
                    </a:lnTo>
                    <a:lnTo>
                      <a:pt x="462" y="396"/>
                    </a:lnTo>
                    <a:lnTo>
                      <a:pt x="920" y="396"/>
                    </a:lnTo>
                    <a:lnTo>
                      <a:pt x="462" y="0"/>
                    </a:lnTo>
                    <a:close/>
                  </a:path>
                </a:pathLst>
              </a:custGeom>
              <a:solidFill>
                <a:schemeClr val="bg1">
                  <a:lumMod val="85000"/>
                </a:schemeClr>
              </a:solidFill>
              <a:ln>
                <a:noFill/>
              </a:ln>
            </p:spPr>
            <p:txBody>
              <a:bodyPr wrap="square" lIns="91440" tIns="45720" rIns="91440" bIns="45720" anchor="ctr" anchorCtr="1">
                <a:normAutofit/>
              </a:bodyPr>
              <a:lstStyle/>
              <a:p>
                <a:pPr algn="ctr"/>
                <a:endParaRPr dirty="0"/>
              </a:p>
            </p:txBody>
          </p:sp>
          <p:sp>
            <p:nvSpPr>
              <p:cNvPr id="23" name="îślïḋè"/>
              <p:cNvSpPr/>
              <p:nvPr/>
            </p:nvSpPr>
            <p:spPr bwMode="auto">
              <a:xfrm>
                <a:off x="5209338" y="3778665"/>
                <a:ext cx="2974975" cy="720725"/>
              </a:xfrm>
              <a:custGeom>
                <a:avLst/>
                <a:gdLst>
                  <a:gd name="T0" fmla="*/ 1874 w 1874"/>
                  <a:gd name="T1" fmla="*/ 454 h 454"/>
                  <a:gd name="T2" fmla="*/ 1874 w 1874"/>
                  <a:gd name="T3" fmla="*/ 229 h 454"/>
                  <a:gd name="T4" fmla="*/ 1874 w 1874"/>
                  <a:gd name="T5" fmla="*/ 0 h 454"/>
                  <a:gd name="T6" fmla="*/ 1222 w 1874"/>
                  <a:gd name="T7" fmla="*/ 0 h 454"/>
                  <a:gd name="T8" fmla="*/ 1222 w 1874"/>
                  <a:gd name="T9" fmla="*/ 0 h 454"/>
                  <a:gd name="T10" fmla="*/ 444 w 1874"/>
                  <a:gd name="T11" fmla="*/ 0 h 454"/>
                  <a:gd name="T12" fmla="*/ 0 w 1874"/>
                  <a:gd name="T13" fmla="*/ 454 h 454"/>
                  <a:gd name="T14" fmla="*/ 1874 w 1874"/>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4" h="454">
                    <a:moveTo>
                      <a:pt x="1874" y="454"/>
                    </a:moveTo>
                    <a:lnTo>
                      <a:pt x="1874" y="229"/>
                    </a:lnTo>
                    <a:lnTo>
                      <a:pt x="1874" y="0"/>
                    </a:lnTo>
                    <a:lnTo>
                      <a:pt x="1222" y="0"/>
                    </a:lnTo>
                    <a:lnTo>
                      <a:pt x="1222" y="0"/>
                    </a:lnTo>
                    <a:lnTo>
                      <a:pt x="444" y="0"/>
                    </a:lnTo>
                    <a:lnTo>
                      <a:pt x="0" y="454"/>
                    </a:lnTo>
                    <a:lnTo>
                      <a:pt x="1874" y="454"/>
                    </a:lnTo>
                    <a:close/>
                  </a:path>
                </a:pathLst>
              </a:custGeom>
              <a:solidFill>
                <a:schemeClr val="bg1">
                  <a:lumMod val="85000"/>
                </a:schemeClr>
              </a:solidFill>
              <a:ln>
                <a:noFill/>
              </a:ln>
            </p:spPr>
            <p:txBody>
              <a:bodyPr vert="horz" wrap="square" lIns="91440" tIns="45720" rIns="91440" bIns="45720" numCol="1" anchor="ctr" anchorCtr="0" compatLnSpc="1">
                <a:normAutofit/>
              </a:bodyPr>
              <a:lstStyle/>
              <a:p>
                <a:pPr algn="r"/>
                <a:r>
                  <a:rPr lang="en-US" altLang="zh-CN" b="1" dirty="0"/>
                  <a:t>LightGBM</a:t>
                </a:r>
              </a:p>
            </p:txBody>
          </p:sp>
          <p:sp>
            <p:nvSpPr>
              <p:cNvPr id="24" name="išlïďê"/>
              <p:cNvSpPr/>
              <p:nvPr/>
            </p:nvSpPr>
            <p:spPr bwMode="auto">
              <a:xfrm>
                <a:off x="4007689" y="3053786"/>
                <a:ext cx="3185274" cy="720725"/>
              </a:xfrm>
              <a:custGeom>
                <a:avLst/>
                <a:gdLst>
                  <a:gd name="T0" fmla="*/ 2085 w 2085"/>
                  <a:gd name="T1" fmla="*/ 454 h 454"/>
                  <a:gd name="T2" fmla="*/ 1641 w 2085"/>
                  <a:gd name="T3" fmla="*/ 0 h 454"/>
                  <a:gd name="T4" fmla="*/ 0 w 2085"/>
                  <a:gd name="T5" fmla="*/ 0 h 454"/>
                  <a:gd name="T6" fmla="*/ 0 w 2085"/>
                  <a:gd name="T7" fmla="*/ 227 h 454"/>
                  <a:gd name="T8" fmla="*/ 0 w 2085"/>
                  <a:gd name="T9" fmla="*/ 454 h 454"/>
                  <a:gd name="T10" fmla="*/ 2085 w 2085"/>
                  <a:gd name="T11" fmla="*/ 454 h 454"/>
                </a:gdLst>
                <a:ahLst/>
                <a:cxnLst>
                  <a:cxn ang="0">
                    <a:pos x="T0" y="T1"/>
                  </a:cxn>
                  <a:cxn ang="0">
                    <a:pos x="T2" y="T3"/>
                  </a:cxn>
                  <a:cxn ang="0">
                    <a:pos x="T4" y="T5"/>
                  </a:cxn>
                  <a:cxn ang="0">
                    <a:pos x="T6" y="T7"/>
                  </a:cxn>
                  <a:cxn ang="0">
                    <a:pos x="T8" y="T9"/>
                  </a:cxn>
                  <a:cxn ang="0">
                    <a:pos x="T10" y="T11"/>
                  </a:cxn>
                </a:cxnLst>
                <a:rect l="0" t="0" r="r" b="b"/>
                <a:pathLst>
                  <a:path w="2085" h="454">
                    <a:moveTo>
                      <a:pt x="2085" y="454"/>
                    </a:moveTo>
                    <a:lnTo>
                      <a:pt x="1641" y="0"/>
                    </a:lnTo>
                    <a:lnTo>
                      <a:pt x="0" y="0"/>
                    </a:lnTo>
                    <a:lnTo>
                      <a:pt x="0" y="227"/>
                    </a:lnTo>
                    <a:lnTo>
                      <a:pt x="0" y="454"/>
                    </a:lnTo>
                    <a:lnTo>
                      <a:pt x="2085" y="454"/>
                    </a:lnTo>
                    <a:close/>
                  </a:path>
                </a:pathLst>
              </a:custGeom>
              <a:solidFill>
                <a:srgbClr val="BC36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normAutofit/>
              </a:bodyPr>
              <a:lstStyle/>
              <a:p>
                <a:r>
                  <a:rPr lang="en-US" altLang="zh-CN" b="1" dirty="0">
                    <a:solidFill>
                      <a:schemeClr val="bg1"/>
                    </a:solidFill>
                  </a:rPr>
                  <a:t>GBDT</a:t>
                </a:r>
              </a:p>
            </p:txBody>
          </p:sp>
          <p:sp>
            <p:nvSpPr>
              <p:cNvPr id="25" name="îsḻiḋé"/>
              <p:cNvSpPr/>
              <p:nvPr/>
            </p:nvSpPr>
            <p:spPr bwMode="auto">
              <a:xfrm rot="5400000">
                <a:off x="2965031" y="3067348"/>
                <a:ext cx="1353808" cy="731509"/>
              </a:xfrm>
              <a:custGeom>
                <a:avLst/>
                <a:gdLst>
                  <a:gd name="T0" fmla="*/ 916 w 916"/>
                  <a:gd name="T1" fmla="*/ 0 h 396"/>
                  <a:gd name="T2" fmla="*/ 689 w 916"/>
                  <a:gd name="T3" fmla="*/ 0 h 396"/>
                  <a:gd name="T4" fmla="*/ 458 w 916"/>
                  <a:gd name="T5" fmla="*/ 0 h 396"/>
                  <a:gd name="T6" fmla="*/ 227 w 916"/>
                  <a:gd name="T7" fmla="*/ 0 h 396"/>
                  <a:gd name="T8" fmla="*/ 0 w 916"/>
                  <a:gd name="T9" fmla="*/ 0 h 396"/>
                  <a:gd name="T10" fmla="*/ 458 w 916"/>
                  <a:gd name="T11" fmla="*/ 396 h 396"/>
                  <a:gd name="T12" fmla="*/ 916 w 916"/>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916" h="396">
                    <a:moveTo>
                      <a:pt x="916" y="0"/>
                    </a:moveTo>
                    <a:lnTo>
                      <a:pt x="689" y="0"/>
                    </a:lnTo>
                    <a:lnTo>
                      <a:pt x="458" y="0"/>
                    </a:lnTo>
                    <a:lnTo>
                      <a:pt x="227" y="0"/>
                    </a:lnTo>
                    <a:lnTo>
                      <a:pt x="0" y="0"/>
                    </a:lnTo>
                    <a:lnTo>
                      <a:pt x="458" y="396"/>
                    </a:lnTo>
                    <a:lnTo>
                      <a:pt x="916"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chorCtr="1">
                <a:normAutofit/>
              </a:bodyPr>
              <a:lstStyle/>
              <a:p>
                <a:pPr algn="ctr"/>
                <a:endParaRPr/>
              </a:p>
            </p:txBody>
          </p:sp>
        </p:grpSp>
        <p:sp>
          <p:nvSpPr>
            <p:cNvPr id="7" name="ïSḷiḓe"/>
            <p:cNvSpPr txBox="1"/>
            <p:nvPr/>
          </p:nvSpPr>
          <p:spPr>
            <a:xfrm>
              <a:off x="581659" y="1377950"/>
              <a:ext cx="10845800" cy="581926"/>
            </a:xfrm>
            <a:prstGeom prst="rect">
              <a:avLst/>
            </a:prstGeom>
            <a:noFill/>
            <a:ln>
              <a:noFill/>
            </a:ln>
          </p:spPr>
          <p:txBody>
            <a:bodyPr wrap="none" lIns="90000" tIns="46800" rIns="90000" bIns="46800" anchor="ctr" anchorCtr="0">
              <a:noAutofit/>
            </a:bodyPr>
            <a:lstStyle/>
            <a:p>
              <a:pPr algn="l">
                <a:buSzPct val="25000"/>
              </a:pPr>
              <a:r>
                <a:rPr lang="en-US" sz="1900" dirty="0"/>
                <a:t>Since the goal of this project is to predict the future sales and there are many features showing impact</a:t>
              </a:r>
            </a:p>
            <a:p>
              <a:pPr algn="l">
                <a:buSzPct val="25000"/>
              </a:pPr>
              <a:r>
                <a:rPr lang="en-US" sz="1900" dirty="0"/>
                <a:t>to the sales, we choose LightGBM, a powerful regression model, to train this large amount of data and</a:t>
              </a:r>
            </a:p>
            <a:p>
              <a:pPr algn="l">
                <a:buSzPct val="25000"/>
              </a:pPr>
              <a:r>
                <a:rPr lang="en-US" sz="1900" dirty="0"/>
                <a:t>do the prediction.</a:t>
              </a:r>
            </a:p>
          </p:txBody>
        </p:sp>
        <p:sp>
          <p:nvSpPr>
            <p:cNvPr id="18" name="iṩļïḋê"/>
            <p:cNvSpPr txBox="1"/>
            <p:nvPr/>
          </p:nvSpPr>
          <p:spPr>
            <a:xfrm>
              <a:off x="8385267" y="2963175"/>
              <a:ext cx="3127900" cy="392512"/>
            </a:xfrm>
            <a:prstGeom prst="rect">
              <a:avLst/>
            </a:prstGeom>
            <a:noFill/>
            <a:ln>
              <a:noFill/>
            </a:ln>
          </p:spPr>
          <p:txBody>
            <a:bodyPr wrap="none" lIns="91440" tIns="45720" rIns="91440" bIns="45720" anchor="t" anchorCtr="0">
              <a:normAutofit lnSpcReduction="10000"/>
            </a:bodyPr>
            <a:lstStyle/>
            <a:p>
              <a:pPr algn="r">
                <a:buSzPct val="25000"/>
              </a:pPr>
              <a:r>
                <a:rPr lang="en-US" altLang="de-DE" sz="2000" b="1" dirty="0"/>
                <a:t>Improvement from GBDT</a:t>
              </a:r>
            </a:p>
          </p:txBody>
        </p:sp>
        <p:sp>
          <p:nvSpPr>
            <p:cNvPr id="27" name="ïṥ1îḍé"/>
            <p:cNvSpPr txBox="1"/>
            <p:nvPr/>
          </p:nvSpPr>
          <p:spPr>
            <a:xfrm>
              <a:off x="8385902" y="3557722"/>
              <a:ext cx="3127900" cy="624918"/>
            </a:xfrm>
            <a:prstGeom prst="rect">
              <a:avLst/>
            </a:prstGeom>
            <a:noFill/>
            <a:ln>
              <a:noFill/>
            </a:ln>
          </p:spPr>
          <p:txBody>
            <a:bodyPr lIns="91440" tIns="45720" rIns="91440" bIns="45720" anchor="t" anchorCtr="0">
              <a:normAutofit/>
            </a:bodyPr>
            <a:lstStyle/>
            <a:p>
              <a:pPr algn="r">
                <a:lnSpc>
                  <a:spcPct val="150000"/>
                </a:lnSpc>
                <a:buSzPct val="25000"/>
              </a:pPr>
              <a:r>
                <a:rPr sz="1200" dirty="0"/>
                <a:t>Gradient-based One-Side Sampling (GOSS)</a:t>
              </a:r>
            </a:p>
          </p:txBody>
        </p:sp>
        <p:sp>
          <p:nvSpPr>
            <p:cNvPr id="28" name="íṡ1idè"/>
            <p:cNvSpPr txBox="1"/>
            <p:nvPr/>
          </p:nvSpPr>
          <p:spPr>
            <a:xfrm>
              <a:off x="8363042" y="4302047"/>
              <a:ext cx="3127900" cy="624918"/>
            </a:xfrm>
            <a:prstGeom prst="rect">
              <a:avLst/>
            </a:prstGeom>
            <a:noFill/>
            <a:ln>
              <a:noFill/>
            </a:ln>
          </p:spPr>
          <p:txBody>
            <a:bodyPr lIns="91440" tIns="45720" rIns="91440" bIns="45720" anchor="t" anchorCtr="0">
              <a:normAutofit/>
            </a:bodyPr>
            <a:lstStyle/>
            <a:p>
              <a:pPr algn="r">
                <a:lnSpc>
                  <a:spcPct val="150000"/>
                </a:lnSpc>
                <a:buSzPct val="25000"/>
              </a:pPr>
              <a:r>
                <a:rPr sz="1200" dirty="0"/>
                <a:t>Exclusive Feature Bundling (EFB)</a:t>
              </a:r>
            </a:p>
          </p:txBody>
        </p:sp>
        <p:cxnSp>
          <p:nvCxnSpPr>
            <p:cNvPr id="29" name="直接连接符 28"/>
            <p:cNvCxnSpPr/>
            <p:nvPr/>
          </p:nvCxnSpPr>
          <p:spPr>
            <a:xfrm>
              <a:off x="8363167" y="4156985"/>
              <a:ext cx="3155735" cy="0"/>
            </a:xfrm>
            <a:prstGeom prst="line">
              <a:avLst/>
            </a:prstGeom>
            <a:ln w="3175" cap="rnd">
              <a:solidFill>
                <a:schemeClr val="tx2">
                  <a:lumMod val="40000"/>
                  <a:lumOff val="6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6" name="图片 25"/>
          <p:cNvPicPr>
            <a:picLocks noChangeAspect="1"/>
          </p:cNvPicPr>
          <p:nvPr/>
        </p:nvPicPr>
        <p:blipFill>
          <a:blip r:embed="rId4"/>
          <a:stretch>
            <a:fillRect/>
          </a:stretch>
        </p:blipFill>
        <p:spPr>
          <a:xfrm>
            <a:off x="189869" y="2411242"/>
            <a:ext cx="3737610" cy="3054985"/>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Model and Resul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1</a:t>
            </a:fld>
            <a:endParaRPr lang="zh-CN" altLang="en-US"/>
          </a:p>
        </p:txBody>
      </p:sp>
      <p:sp>
        <p:nvSpPr>
          <p:cNvPr id="5" name="文本框 4"/>
          <p:cNvSpPr txBox="1"/>
          <p:nvPr/>
        </p:nvSpPr>
        <p:spPr>
          <a:xfrm>
            <a:off x="668655" y="1270000"/>
            <a:ext cx="10851515" cy="1754326"/>
          </a:xfrm>
          <a:prstGeom prst="rect">
            <a:avLst/>
          </a:prstGeom>
          <a:noFill/>
        </p:spPr>
        <p:txBody>
          <a:bodyPr wrap="square" rtlCol="0" anchor="t">
            <a:spAutoFit/>
          </a:bodyPr>
          <a:lstStyle/>
          <a:p>
            <a:r>
              <a:rPr lang="zh-CN" altLang="en-US" dirty="0"/>
              <a:t>In the actual model training and testing, in order to predict the sales data from d_1942 to d_1969,</a:t>
            </a:r>
            <a:r>
              <a:rPr lang="en-US" altLang="zh-CN" dirty="0"/>
              <a:t> </a:t>
            </a:r>
            <a:r>
              <a:rPr lang="zh-CN" altLang="en-US" dirty="0"/>
              <a:t>we use data from d_1 to d_1941, which are in file sales_train_evaluation.csv, and put them into the</a:t>
            </a:r>
            <a:r>
              <a:rPr lang="en-US" altLang="zh-CN" dirty="0"/>
              <a:t> </a:t>
            </a:r>
            <a:r>
              <a:rPr lang="zh-CN" altLang="en-US" dirty="0"/>
              <a:t>model for training.</a:t>
            </a:r>
            <a:endParaRPr lang="en-US" altLang="zh-CN" dirty="0"/>
          </a:p>
          <a:p>
            <a:endParaRPr lang="zh-CN" altLang="en-US" dirty="0"/>
          </a:p>
          <a:p>
            <a:r>
              <a:rPr lang="zh-CN" altLang="en-US" dirty="0"/>
              <a:t>The evaluation is based on the Weighted Root Mean Squared Scaled Error (RMSSE) between the</a:t>
            </a:r>
          </a:p>
          <a:p>
            <a:r>
              <a:rPr lang="zh-CN" altLang="en-US" dirty="0"/>
              <a:t>true value and prediction value. We used the</a:t>
            </a:r>
            <a:r>
              <a:rPr lang="en-US" altLang="zh-CN" dirty="0"/>
              <a:t> trained model to </a:t>
            </a:r>
            <a:r>
              <a:rPr lang="zh-CN" altLang="en-US" dirty="0"/>
              <a:t>predict the sales on d_1942 - d_1969.</a:t>
            </a:r>
          </a:p>
        </p:txBody>
      </p:sp>
      <p:pic>
        <p:nvPicPr>
          <p:cNvPr id="7" name="图片 6"/>
          <p:cNvPicPr>
            <a:picLocks noChangeAspect="1"/>
          </p:cNvPicPr>
          <p:nvPr/>
        </p:nvPicPr>
        <p:blipFill>
          <a:blip r:embed="rId3"/>
          <a:stretch>
            <a:fillRect/>
          </a:stretch>
        </p:blipFill>
        <p:spPr>
          <a:xfrm>
            <a:off x="1451610" y="3283003"/>
            <a:ext cx="9284970" cy="3100070"/>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Methods of Uncertainty</a:t>
            </a:r>
          </a:p>
        </p:txBody>
      </p:sp>
      <p:sp>
        <p:nvSpPr>
          <p:cNvPr id="6" name="文本占位符 5"/>
          <p:cNvSpPr>
            <a:spLocks noGrp="1"/>
          </p:cNvSpPr>
          <p:nvPr>
            <p:ph type="body" idx="1"/>
          </p:nvPr>
        </p:nvSpPr>
        <p:spPr/>
        <p:txBody>
          <a:bodyPr/>
          <a:lstStyle/>
          <a:p>
            <a:pPr lvl="0">
              <a:lnSpc>
                <a:spcPct val="100000"/>
              </a:lnSpc>
            </a:pPr>
            <a:r>
              <a:rPr lang="en-US" altLang="zh-CN" dirty="0"/>
              <a:t>About</a:t>
            </a:r>
          </a:p>
          <a:p>
            <a:pPr lvl="0">
              <a:lnSpc>
                <a:spcPct val="100000"/>
              </a:lnSpc>
            </a:pPr>
            <a:r>
              <a:rPr lang="en-US" altLang="zh-CN" dirty="0"/>
              <a:t>M5</a:t>
            </a:r>
            <a:r>
              <a:rPr lang="zh-CN" altLang="en-US" dirty="0"/>
              <a:t> </a:t>
            </a:r>
            <a:r>
              <a:rPr lang="en-US" altLang="zh-CN" dirty="0"/>
              <a:t>Forecasting</a:t>
            </a:r>
            <a:r>
              <a:rPr lang="zh-CN" altLang="en-US" dirty="0"/>
              <a:t>：</a:t>
            </a:r>
            <a:r>
              <a:rPr lang="en-US" altLang="zh-CN" dirty="0"/>
              <a:t>Accuracy &amp; Uncertainty</a:t>
            </a:r>
            <a:endParaRPr lang="zh-CN" altLang="en-US" dirty="0"/>
          </a:p>
        </p:txBody>
      </p:sp>
      <p:sp>
        <p:nvSpPr>
          <p:cNvPr id="9" name="文本框 8"/>
          <p:cNvSpPr txBox="1"/>
          <p:nvPr/>
        </p:nvSpPr>
        <p:spPr>
          <a:xfrm>
            <a:off x="3543251" y="272849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Quantile Regression</a:t>
            </a:r>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3</a:t>
            </a:fld>
            <a:endParaRPr lang="zh-CN" altLang="en-US"/>
          </a:p>
        </p:txBody>
      </p:sp>
      <p:grpSp>
        <p:nvGrpSpPr>
          <p:cNvPr id="5" name="4af1eef1-55ec-472b-aa87-ff141f5160d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849198" y="1808820"/>
            <a:ext cx="10493604" cy="3463022"/>
            <a:chOff x="849198" y="1808820"/>
            <a:chExt cx="10493604" cy="3463022"/>
          </a:xfrm>
        </p:grpSpPr>
        <p:sp>
          <p:nvSpPr>
            <p:cNvPr id="6" name="iSḻiďê"/>
            <p:cNvSpPr/>
            <p:nvPr/>
          </p:nvSpPr>
          <p:spPr>
            <a:xfrm>
              <a:off x="849198" y="2114712"/>
              <a:ext cx="759735" cy="759735"/>
            </a:xfrm>
            <a:prstGeom prst="ellipse">
              <a:avLst/>
            </a:prstGeom>
            <a:solidFill>
              <a:schemeClr val="tx1">
                <a:lumMod val="50000"/>
                <a:lumOff val="50000"/>
              </a:schemeClr>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 name="ïśľîḑé"/>
            <p:cNvSpPr/>
            <p:nvPr/>
          </p:nvSpPr>
          <p:spPr>
            <a:xfrm>
              <a:off x="10583067" y="2114712"/>
              <a:ext cx="759735" cy="759735"/>
            </a:xfrm>
            <a:prstGeom prst="ellipse">
              <a:avLst/>
            </a:prstGeom>
            <a:solidFill>
              <a:schemeClr val="tx1">
                <a:lumMod val="50000"/>
                <a:lumOff val="50000"/>
              </a:schemeClr>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cxnSp>
          <p:nvCxnSpPr>
            <p:cNvPr id="8" name="直接连接符 7"/>
            <p:cNvCxnSpPr>
              <a:endCxn id="7" idx="2"/>
            </p:cNvCxnSpPr>
            <p:nvPr/>
          </p:nvCxnSpPr>
          <p:spPr>
            <a:xfrm>
              <a:off x="1608932" y="2494578"/>
              <a:ext cx="8974135" cy="2"/>
            </a:xfrm>
            <a:prstGeom prst="line">
              <a:avLst/>
            </a:prstGeom>
            <a:ln w="19050">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9" name="isḷíḍè"/>
            <p:cNvSpPr/>
            <p:nvPr/>
          </p:nvSpPr>
          <p:spPr>
            <a:xfrm>
              <a:off x="5156231" y="1808820"/>
              <a:ext cx="1943100" cy="19430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buClr>
                  <a:schemeClr val="tx1">
                    <a:lumMod val="85000"/>
                    <a:lumOff val="15000"/>
                  </a:schemeClr>
                </a:buClr>
                <a:buSzPct val="105000"/>
              </a:pPr>
              <a:endParaRPr lang="zh-CN" altLang="en-US" sz="2000" b="1" dirty="0">
                <a:solidFill>
                  <a:schemeClr val="bg1"/>
                </a:solidFill>
              </a:endParaRPr>
            </a:p>
          </p:txBody>
        </p:sp>
        <p:sp>
          <p:nvSpPr>
            <p:cNvPr id="10" name="ïŝļíďe"/>
            <p:cNvSpPr txBox="1"/>
            <p:nvPr/>
          </p:nvSpPr>
          <p:spPr>
            <a:xfrm>
              <a:off x="1608658" y="2072980"/>
              <a:ext cx="3201670" cy="407035"/>
            </a:xfrm>
            <a:prstGeom prst="rect">
              <a:avLst/>
            </a:prstGeom>
          </p:spPr>
          <p:txBody>
            <a:bodyPr wrap="square" lIns="91440" tIns="45720" rIns="91440" bIns="45720">
              <a:noAutofit/>
            </a:bodyPr>
            <a:lstStyle/>
            <a:p>
              <a:pPr>
                <a:buClr>
                  <a:schemeClr val="tx1">
                    <a:lumMod val="85000"/>
                    <a:lumOff val="15000"/>
                  </a:schemeClr>
                </a:buClr>
                <a:buSzPct val="105000"/>
              </a:pPr>
              <a:r>
                <a:rPr lang="en-US" altLang="zh-CN" sz="2300" b="1" dirty="0"/>
                <a:t>Regression analysis</a:t>
              </a:r>
            </a:p>
          </p:txBody>
        </p:sp>
        <p:sp>
          <p:nvSpPr>
            <p:cNvPr id="11" name="îşḻîḓé"/>
            <p:cNvSpPr/>
            <p:nvPr/>
          </p:nvSpPr>
          <p:spPr>
            <a:xfrm>
              <a:off x="1053422" y="3361950"/>
              <a:ext cx="38814" cy="519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2" name="íṩļïďe"/>
            <p:cNvSpPr/>
            <p:nvPr/>
          </p:nvSpPr>
          <p:spPr>
            <a:xfrm>
              <a:off x="1053422" y="4132515"/>
              <a:ext cx="38814" cy="519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3" name="ísḷïḋe"/>
            <p:cNvSpPr/>
            <p:nvPr/>
          </p:nvSpPr>
          <p:spPr>
            <a:xfrm flipH="1">
              <a:off x="11099764" y="3118110"/>
              <a:ext cx="38814" cy="5195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4" name="ïṣḷíḋe"/>
            <p:cNvSpPr/>
            <p:nvPr/>
          </p:nvSpPr>
          <p:spPr>
            <a:xfrm flipH="1">
              <a:off x="11099764" y="4752275"/>
              <a:ext cx="38814" cy="5195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5" name="î$1îďé"/>
            <p:cNvSpPr/>
            <p:nvPr/>
          </p:nvSpPr>
          <p:spPr>
            <a:xfrm>
              <a:off x="5506558" y="3403305"/>
              <a:ext cx="1314452" cy="131445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buClr>
                  <a:schemeClr val="tx1">
                    <a:lumMod val="85000"/>
                    <a:lumOff val="15000"/>
                  </a:schemeClr>
                </a:buClr>
                <a:buSzPct val="105000"/>
              </a:pPr>
              <a:endParaRPr lang="zh-CN" altLang="en-US" sz="1400" b="1" dirty="0">
                <a:solidFill>
                  <a:schemeClr val="accent1"/>
                </a:solidFill>
              </a:endParaRPr>
            </a:p>
          </p:txBody>
        </p:sp>
        <p:sp>
          <p:nvSpPr>
            <p:cNvPr id="16" name="íŝlïḑe"/>
            <p:cNvSpPr/>
            <p:nvPr/>
          </p:nvSpPr>
          <p:spPr bwMode="auto">
            <a:xfrm>
              <a:off x="1025054" y="2254064"/>
              <a:ext cx="481027" cy="481027"/>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wrap="square" lIns="91440" tIns="45720" rIns="91440" bIns="45720" anchor="ctr">
              <a:normAutofit/>
            </a:bodyPr>
            <a:lstStyle/>
            <a:p>
              <a:pPr algn="ctr"/>
              <a:endParaRPr/>
            </a:p>
          </p:txBody>
        </p:sp>
        <p:sp>
          <p:nvSpPr>
            <p:cNvPr id="17" name="isľïḋe"/>
            <p:cNvSpPr/>
            <p:nvPr/>
          </p:nvSpPr>
          <p:spPr bwMode="auto">
            <a:xfrm>
              <a:off x="10726111" y="2260156"/>
              <a:ext cx="481027" cy="481027"/>
            </a:xfrm>
            <a:custGeom>
              <a:avLst/>
              <a:gdLst>
                <a:gd name="T0" fmla="*/ 187 w 228"/>
                <a:gd name="T1" fmla="*/ 114 h 240"/>
                <a:gd name="T2" fmla="*/ 114 w 228"/>
                <a:gd name="T3" fmla="*/ 40 h 240"/>
                <a:gd name="T4" fmla="*/ 40 w 228"/>
                <a:gd name="T5" fmla="*/ 114 h 240"/>
                <a:gd name="T6" fmla="*/ 68 w 228"/>
                <a:gd name="T7" fmla="*/ 171 h 240"/>
                <a:gd name="T8" fmla="*/ 74 w 228"/>
                <a:gd name="T9" fmla="*/ 173 h 240"/>
                <a:gd name="T10" fmla="*/ 81 w 228"/>
                <a:gd name="T11" fmla="*/ 169 h 240"/>
                <a:gd name="T12" fmla="*/ 79 w 228"/>
                <a:gd name="T13" fmla="*/ 156 h 240"/>
                <a:gd name="T14" fmla="*/ 59 w 228"/>
                <a:gd name="T15" fmla="*/ 114 h 240"/>
                <a:gd name="T16" fmla="*/ 114 w 228"/>
                <a:gd name="T17" fmla="*/ 59 h 240"/>
                <a:gd name="T18" fmla="*/ 169 w 228"/>
                <a:gd name="T19" fmla="*/ 114 h 240"/>
                <a:gd name="T20" fmla="*/ 152 w 228"/>
                <a:gd name="T21" fmla="*/ 153 h 240"/>
                <a:gd name="T22" fmla="*/ 151 w 228"/>
                <a:gd name="T23" fmla="*/ 166 h 240"/>
                <a:gd name="T24" fmla="*/ 165 w 228"/>
                <a:gd name="T25" fmla="*/ 167 h 240"/>
                <a:gd name="T26" fmla="*/ 187 w 228"/>
                <a:gd name="T27" fmla="*/ 114 h 240"/>
                <a:gd name="T28" fmla="*/ 116 w 228"/>
                <a:gd name="T29" fmla="*/ 79 h 240"/>
                <a:gd name="T30" fmla="*/ 81 w 228"/>
                <a:gd name="T31" fmla="*/ 114 h 240"/>
                <a:gd name="T32" fmla="*/ 101 w 228"/>
                <a:gd name="T33" fmla="*/ 144 h 240"/>
                <a:gd name="T34" fmla="*/ 101 w 228"/>
                <a:gd name="T35" fmla="*/ 226 h 240"/>
                <a:gd name="T36" fmla="*/ 115 w 228"/>
                <a:gd name="T37" fmla="*/ 240 h 240"/>
                <a:gd name="T38" fmla="*/ 129 w 228"/>
                <a:gd name="T39" fmla="*/ 226 h 240"/>
                <a:gd name="T40" fmla="*/ 129 w 228"/>
                <a:gd name="T41" fmla="*/ 145 h 240"/>
                <a:gd name="T42" fmla="*/ 150 w 228"/>
                <a:gd name="T43" fmla="*/ 114 h 240"/>
                <a:gd name="T44" fmla="*/ 116 w 228"/>
                <a:gd name="T45" fmla="*/ 79 h 240"/>
                <a:gd name="T46" fmla="*/ 114 w 228"/>
                <a:gd name="T47" fmla="*/ 0 h 240"/>
                <a:gd name="T48" fmla="*/ 0 w 228"/>
                <a:gd name="T49" fmla="*/ 114 h 240"/>
                <a:gd name="T50" fmla="*/ 52 w 228"/>
                <a:gd name="T51" fmla="*/ 209 h 240"/>
                <a:gd name="T52" fmla="*/ 57 w 228"/>
                <a:gd name="T53" fmla="*/ 211 h 240"/>
                <a:gd name="T54" fmla="*/ 65 w 228"/>
                <a:gd name="T55" fmla="*/ 206 h 240"/>
                <a:gd name="T56" fmla="*/ 62 w 228"/>
                <a:gd name="T57" fmla="*/ 193 h 240"/>
                <a:gd name="T58" fmla="*/ 19 w 228"/>
                <a:gd name="T59" fmla="*/ 114 h 240"/>
                <a:gd name="T60" fmla="*/ 114 w 228"/>
                <a:gd name="T61" fmla="*/ 18 h 240"/>
                <a:gd name="T62" fmla="*/ 209 w 228"/>
                <a:gd name="T63" fmla="*/ 114 h 240"/>
                <a:gd name="T64" fmla="*/ 168 w 228"/>
                <a:gd name="T65" fmla="*/ 192 h 240"/>
                <a:gd name="T66" fmla="*/ 165 w 228"/>
                <a:gd name="T67" fmla="*/ 205 h 240"/>
                <a:gd name="T68" fmla="*/ 178 w 228"/>
                <a:gd name="T69" fmla="*/ 208 h 240"/>
                <a:gd name="T70" fmla="*/ 228 w 228"/>
                <a:gd name="T71" fmla="*/ 114 h 240"/>
                <a:gd name="T72" fmla="*/ 114 w 228"/>
                <a:gd name="T73"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8" h="240">
                  <a:moveTo>
                    <a:pt x="187" y="114"/>
                  </a:moveTo>
                  <a:cubicBezTo>
                    <a:pt x="187" y="73"/>
                    <a:pt x="154" y="40"/>
                    <a:pt x="114" y="40"/>
                  </a:cubicBezTo>
                  <a:cubicBezTo>
                    <a:pt x="73" y="40"/>
                    <a:pt x="40" y="73"/>
                    <a:pt x="40" y="114"/>
                  </a:cubicBezTo>
                  <a:cubicBezTo>
                    <a:pt x="40" y="136"/>
                    <a:pt x="50" y="157"/>
                    <a:pt x="68" y="171"/>
                  </a:cubicBezTo>
                  <a:cubicBezTo>
                    <a:pt x="69" y="172"/>
                    <a:pt x="71" y="173"/>
                    <a:pt x="74" y="173"/>
                  </a:cubicBezTo>
                  <a:cubicBezTo>
                    <a:pt x="76" y="173"/>
                    <a:pt x="79" y="171"/>
                    <a:pt x="81" y="169"/>
                  </a:cubicBezTo>
                  <a:cubicBezTo>
                    <a:pt x="84" y="165"/>
                    <a:pt x="83" y="159"/>
                    <a:pt x="79" y="156"/>
                  </a:cubicBezTo>
                  <a:cubicBezTo>
                    <a:pt x="67" y="146"/>
                    <a:pt x="59" y="130"/>
                    <a:pt x="59" y="114"/>
                  </a:cubicBezTo>
                  <a:cubicBezTo>
                    <a:pt x="59" y="83"/>
                    <a:pt x="84" y="59"/>
                    <a:pt x="114" y="59"/>
                  </a:cubicBezTo>
                  <a:cubicBezTo>
                    <a:pt x="144" y="59"/>
                    <a:pt x="169" y="83"/>
                    <a:pt x="169" y="114"/>
                  </a:cubicBezTo>
                  <a:cubicBezTo>
                    <a:pt x="169" y="129"/>
                    <a:pt x="163" y="143"/>
                    <a:pt x="152" y="153"/>
                  </a:cubicBezTo>
                  <a:cubicBezTo>
                    <a:pt x="148" y="157"/>
                    <a:pt x="148" y="163"/>
                    <a:pt x="151" y="166"/>
                  </a:cubicBezTo>
                  <a:cubicBezTo>
                    <a:pt x="155" y="170"/>
                    <a:pt x="161" y="170"/>
                    <a:pt x="165" y="167"/>
                  </a:cubicBezTo>
                  <a:cubicBezTo>
                    <a:pt x="179" y="153"/>
                    <a:pt x="187" y="134"/>
                    <a:pt x="187" y="114"/>
                  </a:cubicBezTo>
                  <a:close/>
                  <a:moveTo>
                    <a:pt x="116" y="79"/>
                  </a:moveTo>
                  <a:cubicBezTo>
                    <a:pt x="97" y="79"/>
                    <a:pt x="81" y="95"/>
                    <a:pt x="81" y="114"/>
                  </a:cubicBezTo>
                  <a:cubicBezTo>
                    <a:pt x="81" y="127"/>
                    <a:pt x="89" y="139"/>
                    <a:pt x="101" y="144"/>
                  </a:cubicBezTo>
                  <a:cubicBezTo>
                    <a:pt x="101" y="226"/>
                    <a:pt x="101" y="226"/>
                    <a:pt x="101" y="226"/>
                  </a:cubicBezTo>
                  <a:cubicBezTo>
                    <a:pt x="101" y="233"/>
                    <a:pt x="107" y="240"/>
                    <a:pt x="115" y="240"/>
                  </a:cubicBezTo>
                  <a:cubicBezTo>
                    <a:pt x="123" y="240"/>
                    <a:pt x="129" y="233"/>
                    <a:pt x="129" y="226"/>
                  </a:cubicBezTo>
                  <a:cubicBezTo>
                    <a:pt x="129" y="145"/>
                    <a:pt x="129" y="145"/>
                    <a:pt x="129" y="145"/>
                  </a:cubicBezTo>
                  <a:cubicBezTo>
                    <a:pt x="141" y="140"/>
                    <a:pt x="150" y="128"/>
                    <a:pt x="150" y="114"/>
                  </a:cubicBezTo>
                  <a:cubicBezTo>
                    <a:pt x="150" y="95"/>
                    <a:pt x="134" y="79"/>
                    <a:pt x="116" y="79"/>
                  </a:cubicBezTo>
                  <a:close/>
                  <a:moveTo>
                    <a:pt x="114" y="0"/>
                  </a:moveTo>
                  <a:cubicBezTo>
                    <a:pt x="51" y="0"/>
                    <a:pt x="0" y="51"/>
                    <a:pt x="0" y="114"/>
                  </a:cubicBezTo>
                  <a:cubicBezTo>
                    <a:pt x="0" y="152"/>
                    <a:pt x="19" y="188"/>
                    <a:pt x="52" y="209"/>
                  </a:cubicBezTo>
                  <a:cubicBezTo>
                    <a:pt x="54" y="210"/>
                    <a:pt x="55" y="211"/>
                    <a:pt x="57" y="211"/>
                  </a:cubicBezTo>
                  <a:cubicBezTo>
                    <a:pt x="60" y="211"/>
                    <a:pt x="63" y="209"/>
                    <a:pt x="65" y="206"/>
                  </a:cubicBezTo>
                  <a:cubicBezTo>
                    <a:pt x="68" y="202"/>
                    <a:pt x="67" y="196"/>
                    <a:pt x="62" y="193"/>
                  </a:cubicBezTo>
                  <a:cubicBezTo>
                    <a:pt x="35" y="176"/>
                    <a:pt x="19" y="146"/>
                    <a:pt x="19" y="114"/>
                  </a:cubicBezTo>
                  <a:cubicBezTo>
                    <a:pt x="19" y="61"/>
                    <a:pt x="61" y="18"/>
                    <a:pt x="114" y="18"/>
                  </a:cubicBezTo>
                  <a:cubicBezTo>
                    <a:pt x="166" y="18"/>
                    <a:pt x="209" y="61"/>
                    <a:pt x="209" y="114"/>
                  </a:cubicBezTo>
                  <a:cubicBezTo>
                    <a:pt x="209" y="145"/>
                    <a:pt x="194" y="174"/>
                    <a:pt x="168" y="192"/>
                  </a:cubicBezTo>
                  <a:cubicBezTo>
                    <a:pt x="163" y="195"/>
                    <a:pt x="162" y="201"/>
                    <a:pt x="165" y="205"/>
                  </a:cubicBezTo>
                  <a:cubicBezTo>
                    <a:pt x="168" y="209"/>
                    <a:pt x="174" y="211"/>
                    <a:pt x="178" y="208"/>
                  </a:cubicBezTo>
                  <a:cubicBezTo>
                    <a:pt x="209" y="186"/>
                    <a:pt x="228" y="151"/>
                    <a:pt x="228" y="114"/>
                  </a:cubicBezTo>
                  <a:cubicBezTo>
                    <a:pt x="228" y="51"/>
                    <a:pt x="177" y="0"/>
                    <a:pt x="114" y="0"/>
                  </a:cubicBezTo>
                  <a:close/>
                </a:path>
              </a:pathLst>
            </a:custGeom>
            <a:solidFill>
              <a:schemeClr val="bg1"/>
            </a:solidFill>
            <a:ln>
              <a:noFill/>
            </a:ln>
          </p:spPr>
          <p:txBody>
            <a:bodyPr wrap="square" lIns="91440" tIns="45720" rIns="91440" bIns="45720" anchor="ctr">
              <a:normAutofit/>
            </a:bodyPr>
            <a:lstStyle/>
            <a:p>
              <a:pPr algn="ctr"/>
              <a:endParaRPr/>
            </a:p>
          </p:txBody>
        </p:sp>
        <p:sp>
          <p:nvSpPr>
            <p:cNvPr id="18" name="i$lîďè"/>
            <p:cNvSpPr txBox="1"/>
            <p:nvPr/>
          </p:nvSpPr>
          <p:spPr>
            <a:xfrm>
              <a:off x="7239838" y="2072345"/>
              <a:ext cx="3322955" cy="407035"/>
            </a:xfrm>
            <a:prstGeom prst="rect">
              <a:avLst/>
            </a:prstGeom>
          </p:spPr>
          <p:txBody>
            <a:bodyPr wrap="square" lIns="91440" tIns="45720" rIns="91440" bIns="45720">
              <a:noAutofit/>
            </a:bodyPr>
            <a:lstStyle/>
            <a:p>
              <a:pPr algn="r">
                <a:buClr>
                  <a:schemeClr val="tx1">
                    <a:lumMod val="85000"/>
                    <a:lumOff val="15000"/>
                  </a:schemeClr>
                </a:buClr>
                <a:buSzPct val="105000"/>
              </a:pPr>
              <a:r>
                <a:rPr lang="en-US" altLang="zh-CN" sz="2300" b="1" dirty="0"/>
                <a:t>Quantile Regression</a:t>
              </a:r>
            </a:p>
          </p:txBody>
        </p:sp>
        <p:sp>
          <p:nvSpPr>
            <p:cNvPr id="19" name="ïSľîḑè"/>
            <p:cNvSpPr/>
            <p:nvPr/>
          </p:nvSpPr>
          <p:spPr bwMode="auto">
            <a:xfrm>
              <a:off x="1094943" y="2961980"/>
              <a:ext cx="3843655" cy="51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1000" dirty="0"/>
                <a:t>The basic idea of </a:t>
              </a:r>
              <a:r>
                <a:rPr lang="en-US" altLang="zh-CN" sz="1000" dirty="0">
                  <a:sym typeface="+mn-ea"/>
                </a:rPr>
                <a:t>Regression analysis</a:t>
              </a:r>
              <a:r>
                <a:rPr lang="en-US" altLang="zh-CN" sz="1000" dirty="0"/>
                <a:t> is to find a function to fit the training data as precise as possible, and then use the function to do some predictions. The parameters adjusting process is usually realized by minimizing Mean Squared Error as the loss function.</a:t>
              </a:r>
            </a:p>
          </p:txBody>
        </p:sp>
        <p:sp>
          <p:nvSpPr>
            <p:cNvPr id="20" name="í$ḷïdé"/>
            <p:cNvSpPr/>
            <p:nvPr/>
          </p:nvSpPr>
          <p:spPr bwMode="auto">
            <a:xfrm>
              <a:off x="1075893" y="4033225"/>
              <a:ext cx="3862070" cy="557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1000" dirty="0"/>
                <a:t>All the regression functions mentioned above are essentially a conditional expectation function. Under the condition that x is equal to a certain value, find the expectation of Y according to the data. But more often, we don’t want to just study the expectation of Y, but also to explore the complete distribution of Y, or maybe in some cases, we prefer to know a quantile of Y</a:t>
              </a:r>
            </a:p>
          </p:txBody>
        </p:sp>
        <p:sp>
          <p:nvSpPr>
            <p:cNvPr id="21" name="îŝľïḍe"/>
            <p:cNvSpPr/>
            <p:nvPr/>
          </p:nvSpPr>
          <p:spPr bwMode="auto">
            <a:xfrm>
              <a:off x="7239838" y="2996270"/>
              <a:ext cx="3856990" cy="51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30000"/>
                </a:lnSpc>
              </a:pPr>
              <a:r>
                <a:rPr lang="en-US" altLang="zh-CN" sz="1000" dirty="0"/>
                <a:t>The quantile loss differs depending on different quantile, for higher quantiles, more negative errors are penalized and for lower quantiles, more positive errors are penalized. And the quantile loss function is:</a:t>
              </a:r>
            </a:p>
          </p:txBody>
        </p:sp>
        <p:sp>
          <p:nvSpPr>
            <p:cNvPr id="22" name="ïṣļîďe"/>
            <p:cNvSpPr/>
            <p:nvPr/>
          </p:nvSpPr>
          <p:spPr bwMode="auto">
            <a:xfrm>
              <a:off x="7390333" y="4668860"/>
              <a:ext cx="3697605" cy="557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30000"/>
                </a:lnSpc>
              </a:pPr>
              <a:r>
                <a:rPr lang="en-US" altLang="zh-CN" sz="1000" dirty="0"/>
                <a:t>According to the M5 participants’ guide, we are asked to provide the median, and the 50%, 67%, 95%, and 99% prediction intervals, so the quantiles are: 0.005, 0.025, 0.165, 0.25, 0.5, 0.75, 0.835, 0.975, and 0.995.</a:t>
              </a:r>
            </a:p>
          </p:txBody>
        </p:sp>
        <p:sp>
          <p:nvSpPr>
            <p:cNvPr id="23" name="îşḻîḓé"/>
            <p:cNvSpPr/>
            <p:nvPr/>
          </p:nvSpPr>
          <p:spPr>
            <a:xfrm>
              <a:off x="1053422" y="3067945"/>
              <a:ext cx="38814" cy="519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4" name="í$ḷïdé"/>
            <p:cNvSpPr/>
            <p:nvPr/>
          </p:nvSpPr>
          <p:spPr bwMode="auto">
            <a:xfrm>
              <a:off x="1075893" y="4033860"/>
              <a:ext cx="3862070" cy="557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1000" dirty="0"/>
                <a:t>All the regression functions mentioned above are essentially a conditional expectation function. Under the condition that x is equal to a certain value, find the expectation of Y according to the data. But more often, we don’t want to just study the expectation of Y, but also to explore the complete distribution of Y, or maybe in some cases, we prefer to know a quantile of Y</a:t>
              </a:r>
            </a:p>
          </p:txBody>
        </p:sp>
      </p:grpSp>
      <p:pic>
        <p:nvPicPr>
          <p:cNvPr id="25" name="图片 24"/>
          <p:cNvPicPr>
            <a:picLocks noChangeAspect="1"/>
          </p:cNvPicPr>
          <p:nvPr/>
        </p:nvPicPr>
        <p:blipFill>
          <a:blip r:embed="rId4"/>
          <a:stretch>
            <a:fillRect/>
          </a:stretch>
        </p:blipFill>
        <p:spPr>
          <a:xfrm>
            <a:off x="669925" y="5415280"/>
            <a:ext cx="4672330" cy="1317625"/>
          </a:xfrm>
          <a:prstGeom prst="rect">
            <a:avLst/>
          </a:prstGeom>
        </p:spPr>
      </p:pic>
      <p:pic>
        <p:nvPicPr>
          <p:cNvPr id="26" name="图片 25"/>
          <p:cNvPicPr>
            <a:picLocks noChangeAspect="1"/>
          </p:cNvPicPr>
          <p:nvPr/>
        </p:nvPicPr>
        <p:blipFill>
          <a:blip r:embed="rId5"/>
          <a:stretch>
            <a:fillRect/>
          </a:stretch>
        </p:blipFill>
        <p:spPr>
          <a:xfrm>
            <a:off x="7780020" y="3972560"/>
            <a:ext cx="3069590" cy="52451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NNs and LSTM</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4</a:t>
            </a:fld>
            <a:endParaRPr lang="zh-CN" altLang="en-US"/>
          </a:p>
        </p:txBody>
      </p:sp>
      <p:sp>
        <p:nvSpPr>
          <p:cNvPr id="5" name="文本框 4"/>
          <p:cNvSpPr txBox="1"/>
          <p:nvPr/>
        </p:nvSpPr>
        <p:spPr>
          <a:xfrm>
            <a:off x="668655" y="1270000"/>
            <a:ext cx="10851515" cy="2585323"/>
          </a:xfrm>
          <a:prstGeom prst="rect">
            <a:avLst/>
          </a:prstGeom>
          <a:noFill/>
        </p:spPr>
        <p:txBody>
          <a:bodyPr wrap="square" rtlCol="0" anchor="t">
            <a:spAutoFit/>
          </a:bodyPr>
          <a:lstStyle/>
          <a:p>
            <a:r>
              <a:rPr dirty="0"/>
              <a:t>Artificial neural network is an algorithmic mathematical model that imitates the behavior characteristics of animal neural network and carries out distributed parallel information processing. This kind of</a:t>
            </a:r>
            <a:r>
              <a:rPr lang="en-US" dirty="0"/>
              <a:t> </a:t>
            </a:r>
            <a:r>
              <a:rPr dirty="0"/>
              <a:t>network depends on the complexity of the system, and achieves the purpose of processing information</a:t>
            </a:r>
            <a:r>
              <a:rPr lang="en-US" dirty="0"/>
              <a:t> </a:t>
            </a:r>
            <a:r>
              <a:rPr dirty="0"/>
              <a:t>by adjusting the interconnected relationship between a large number of internal nodes.</a:t>
            </a:r>
            <a:endParaRPr lang="en-US" dirty="0"/>
          </a:p>
          <a:p>
            <a:endParaRPr dirty="0"/>
          </a:p>
          <a:p>
            <a:r>
              <a:rPr dirty="0"/>
              <a:t>When it comes to data with time series properties, we sometimes choose to use LSTM model. LSTM</a:t>
            </a:r>
            <a:r>
              <a:rPr lang="en-US" dirty="0"/>
              <a:t> </a:t>
            </a:r>
            <a:r>
              <a:rPr dirty="0"/>
              <a:t>is a special RNN, which is mainly used to solve the problems of gradient disappearance and gradient</a:t>
            </a:r>
            <a:r>
              <a:rPr lang="en-US" dirty="0"/>
              <a:t> </a:t>
            </a:r>
            <a:r>
              <a:rPr dirty="0"/>
              <a:t>explosion in the process of long sequence training. In short, compared with ordinary RNN, LSTM</a:t>
            </a:r>
            <a:r>
              <a:rPr lang="en-US" dirty="0"/>
              <a:t> </a:t>
            </a:r>
            <a:r>
              <a:rPr dirty="0"/>
              <a:t>can perform better in longer sequences. The specific structure is as figur</a:t>
            </a:r>
            <a:r>
              <a:rPr lang="en-US" dirty="0"/>
              <a:t>e</a:t>
            </a:r>
            <a:r>
              <a:rPr dirty="0"/>
              <a:t>.</a:t>
            </a:r>
          </a:p>
        </p:txBody>
      </p:sp>
      <p:pic>
        <p:nvPicPr>
          <p:cNvPr id="6" name="图片 5"/>
          <p:cNvPicPr>
            <a:picLocks noChangeAspect="1"/>
          </p:cNvPicPr>
          <p:nvPr/>
        </p:nvPicPr>
        <p:blipFill>
          <a:blip r:embed="rId3"/>
          <a:stretch>
            <a:fillRect/>
          </a:stretch>
        </p:blipFill>
        <p:spPr>
          <a:xfrm>
            <a:off x="1830070" y="3921815"/>
            <a:ext cx="8532495" cy="273050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NNs with Quantile Regression</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5</a:t>
            </a:fld>
            <a:endParaRPr lang="zh-CN" altLang="en-US"/>
          </a:p>
        </p:txBody>
      </p:sp>
      <p:sp>
        <p:nvSpPr>
          <p:cNvPr id="5" name="文本框 4"/>
          <p:cNvSpPr txBox="1"/>
          <p:nvPr/>
        </p:nvSpPr>
        <p:spPr>
          <a:xfrm>
            <a:off x="668655" y="1270000"/>
            <a:ext cx="10851515" cy="3139321"/>
          </a:xfrm>
          <a:prstGeom prst="rect">
            <a:avLst/>
          </a:prstGeom>
          <a:noFill/>
        </p:spPr>
        <p:txBody>
          <a:bodyPr wrap="square" rtlCol="0" anchor="t">
            <a:spAutoFit/>
          </a:bodyPr>
          <a:lstStyle/>
          <a:p>
            <a:r>
              <a:rPr lang="en-US" dirty="0"/>
              <a:t>W</a:t>
            </a:r>
            <a:r>
              <a:rPr dirty="0"/>
              <a:t>e consider directly using the basic neural network to predict the future sales</a:t>
            </a:r>
            <a:r>
              <a:rPr lang="en-US" dirty="0"/>
              <a:t> </a:t>
            </a:r>
            <a:r>
              <a:rPr dirty="0"/>
              <a:t>situation and make the uncertainty estimates.</a:t>
            </a:r>
            <a:endParaRPr lang="en-US" dirty="0"/>
          </a:p>
          <a:p>
            <a:endParaRPr dirty="0"/>
          </a:p>
          <a:p>
            <a:r>
              <a:rPr dirty="0"/>
              <a:t>For quantitative regression, we set a special loss function, in which the quantiles are 0.005, 0.025,</a:t>
            </a:r>
            <a:r>
              <a:rPr lang="en-US" dirty="0"/>
              <a:t> </a:t>
            </a:r>
            <a:r>
              <a:rPr dirty="0"/>
              <a:t>0.165, 0.250, 0.500, 0.750, 0.835, 0.975 and 0.995 respectively.</a:t>
            </a:r>
            <a:endParaRPr lang="en-US" dirty="0"/>
          </a:p>
          <a:p>
            <a:endParaRPr dirty="0"/>
          </a:p>
          <a:p>
            <a:r>
              <a:rPr dirty="0"/>
              <a:t>We used file sales_train_evaluation.csv for training and cross validation. We input the preprocessed</a:t>
            </a:r>
            <a:r>
              <a:rPr lang="en-US" dirty="0"/>
              <a:t> </a:t>
            </a:r>
            <a:r>
              <a:rPr dirty="0"/>
              <a:t>training data into the model for training. Among them, each line of training data includes sales data</a:t>
            </a:r>
            <a:r>
              <a:rPr lang="en-US" dirty="0"/>
              <a:t> </a:t>
            </a:r>
            <a:r>
              <a:rPr dirty="0"/>
              <a:t>information under a specific hierarchy, including store commodity information, date information,</a:t>
            </a:r>
            <a:r>
              <a:rPr lang="en-US" dirty="0"/>
              <a:t> </a:t>
            </a:r>
            <a:r>
              <a:rPr dirty="0"/>
              <a:t>sales, etc. Then, for different quantiles, we use the trained model to predict respectively and save it to</a:t>
            </a:r>
            <a:r>
              <a:rPr lang="en-US" dirty="0"/>
              <a:t> </a:t>
            </a:r>
            <a:r>
              <a:rPr dirty="0"/>
              <a:t>the file submission.csv.</a:t>
            </a:r>
          </a:p>
        </p:txBody>
      </p:sp>
      <p:pic>
        <p:nvPicPr>
          <p:cNvPr id="7" name="图片 6"/>
          <p:cNvPicPr>
            <a:picLocks noChangeAspect="1"/>
          </p:cNvPicPr>
          <p:nvPr/>
        </p:nvPicPr>
        <p:blipFill>
          <a:blip r:embed="rId3"/>
          <a:stretch>
            <a:fillRect/>
          </a:stretch>
        </p:blipFill>
        <p:spPr>
          <a:xfrm>
            <a:off x="2440988" y="4476475"/>
            <a:ext cx="7306847" cy="2223049"/>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LSTM with Quantile Regression</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8" name="图片 7">
            <a:extLst>
              <a:ext uri="{FF2B5EF4-FFF2-40B4-BE49-F238E27FC236}">
                <a16:creationId xmlns:a16="http://schemas.microsoft.com/office/drawing/2014/main" id="{1C426D74-9278-4077-9438-A6F6DE1BF5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75" y="4983840"/>
            <a:ext cx="6185039" cy="1577091"/>
          </a:xfrm>
          <a:prstGeom prst="rect">
            <a:avLst/>
          </a:prstGeom>
          <a:ln>
            <a:noFill/>
          </a:ln>
          <a:effectLst>
            <a:outerShdw blurRad="292100" dist="139700" dir="2700000" algn="tl" rotWithShape="0">
              <a:srgbClr val="333333">
                <a:alpha val="65000"/>
              </a:srgbClr>
            </a:outerShdw>
          </a:effectLst>
        </p:spPr>
      </p:pic>
      <p:sp>
        <p:nvSpPr>
          <p:cNvPr id="10" name="文本框 9">
            <a:extLst>
              <a:ext uri="{FF2B5EF4-FFF2-40B4-BE49-F238E27FC236}">
                <a16:creationId xmlns:a16="http://schemas.microsoft.com/office/drawing/2014/main" id="{11A38AB4-F316-43C8-B74B-F25ECACB7CF5}"/>
              </a:ext>
            </a:extLst>
          </p:cNvPr>
          <p:cNvSpPr txBox="1"/>
          <p:nvPr/>
        </p:nvSpPr>
        <p:spPr>
          <a:xfrm>
            <a:off x="669924" y="4707367"/>
            <a:ext cx="2549770" cy="369332"/>
          </a:xfrm>
          <a:prstGeom prst="rect">
            <a:avLst/>
          </a:prstGeom>
          <a:noFill/>
        </p:spPr>
        <p:txBody>
          <a:bodyPr wrap="square" rtlCol="0">
            <a:spAutoFit/>
          </a:bodyPr>
          <a:lstStyle/>
          <a:p>
            <a:r>
              <a:rPr lang="en-US" altLang="zh-CN" b="1" dirty="0"/>
              <a:t>Model structure:</a:t>
            </a:r>
            <a:endParaRPr lang="zh-CN" altLang="en-US" b="1" dirty="0"/>
          </a:p>
        </p:txBody>
      </p:sp>
      <p:sp>
        <p:nvSpPr>
          <p:cNvPr id="11" name="文本框 10">
            <a:extLst>
              <a:ext uri="{FF2B5EF4-FFF2-40B4-BE49-F238E27FC236}">
                <a16:creationId xmlns:a16="http://schemas.microsoft.com/office/drawing/2014/main" id="{4016F240-7A62-4700-A5B6-31C7B002399B}"/>
              </a:ext>
            </a:extLst>
          </p:cNvPr>
          <p:cNvSpPr txBox="1"/>
          <p:nvPr/>
        </p:nvSpPr>
        <p:spPr>
          <a:xfrm>
            <a:off x="669923" y="1229784"/>
            <a:ext cx="3409707" cy="369332"/>
          </a:xfrm>
          <a:prstGeom prst="rect">
            <a:avLst/>
          </a:prstGeom>
          <a:noFill/>
        </p:spPr>
        <p:txBody>
          <a:bodyPr wrap="square" rtlCol="0">
            <a:spAutoFit/>
          </a:bodyPr>
          <a:lstStyle/>
          <a:p>
            <a:r>
              <a:rPr lang="en-US" altLang="zh-CN" b="1" dirty="0"/>
              <a:t>Training set: (one hierarchy)</a:t>
            </a:r>
            <a:endParaRPr lang="zh-CN" altLang="en-US" b="1" dirty="0"/>
          </a:p>
        </p:txBody>
      </p:sp>
      <p:graphicFrame>
        <p:nvGraphicFramePr>
          <p:cNvPr id="12" name="表格 12">
            <a:extLst>
              <a:ext uri="{FF2B5EF4-FFF2-40B4-BE49-F238E27FC236}">
                <a16:creationId xmlns:a16="http://schemas.microsoft.com/office/drawing/2014/main" id="{4839097E-FB17-4A80-8DF2-9B06D7135F42}"/>
              </a:ext>
            </a:extLst>
          </p:cNvPr>
          <p:cNvGraphicFramePr>
            <a:graphicFrameLocks noGrp="1"/>
          </p:cNvGraphicFramePr>
          <p:nvPr>
            <p:extLst>
              <p:ext uri="{D42A27DB-BD31-4B8C-83A1-F6EECF244321}">
                <p14:modId xmlns:p14="http://schemas.microsoft.com/office/powerpoint/2010/main" val="3199008599"/>
              </p:ext>
            </p:extLst>
          </p:nvPr>
        </p:nvGraphicFramePr>
        <p:xfrm>
          <a:off x="2698442" y="1604349"/>
          <a:ext cx="6793525" cy="1280365"/>
        </p:xfrm>
        <a:graphic>
          <a:graphicData uri="http://schemas.openxmlformats.org/drawingml/2006/table">
            <a:tbl>
              <a:tblPr firstRow="1" bandRow="1">
                <a:tableStyleId>{5C22544A-7EE6-4342-B048-85BDC9FD1C3A}</a:tableStyleId>
              </a:tblPr>
              <a:tblGrid>
                <a:gridCol w="833643">
                  <a:extLst>
                    <a:ext uri="{9D8B030D-6E8A-4147-A177-3AD203B41FA5}">
                      <a16:colId xmlns:a16="http://schemas.microsoft.com/office/drawing/2014/main" val="411855113"/>
                    </a:ext>
                  </a:extLst>
                </a:gridCol>
                <a:gridCol w="653650">
                  <a:extLst>
                    <a:ext uri="{9D8B030D-6E8A-4147-A177-3AD203B41FA5}">
                      <a16:colId xmlns:a16="http://schemas.microsoft.com/office/drawing/2014/main" val="2042086186"/>
                    </a:ext>
                  </a:extLst>
                </a:gridCol>
                <a:gridCol w="743646">
                  <a:extLst>
                    <a:ext uri="{9D8B030D-6E8A-4147-A177-3AD203B41FA5}">
                      <a16:colId xmlns:a16="http://schemas.microsoft.com/office/drawing/2014/main" val="2641367682"/>
                    </a:ext>
                  </a:extLst>
                </a:gridCol>
                <a:gridCol w="743646">
                  <a:extLst>
                    <a:ext uri="{9D8B030D-6E8A-4147-A177-3AD203B41FA5}">
                      <a16:colId xmlns:a16="http://schemas.microsoft.com/office/drawing/2014/main" val="3091265112"/>
                    </a:ext>
                  </a:extLst>
                </a:gridCol>
                <a:gridCol w="743646">
                  <a:extLst>
                    <a:ext uri="{9D8B030D-6E8A-4147-A177-3AD203B41FA5}">
                      <a16:colId xmlns:a16="http://schemas.microsoft.com/office/drawing/2014/main" val="680272370"/>
                    </a:ext>
                  </a:extLst>
                </a:gridCol>
                <a:gridCol w="743646">
                  <a:extLst>
                    <a:ext uri="{9D8B030D-6E8A-4147-A177-3AD203B41FA5}">
                      <a16:colId xmlns:a16="http://schemas.microsoft.com/office/drawing/2014/main" val="1238562346"/>
                    </a:ext>
                  </a:extLst>
                </a:gridCol>
                <a:gridCol w="743646">
                  <a:extLst>
                    <a:ext uri="{9D8B030D-6E8A-4147-A177-3AD203B41FA5}">
                      <a16:colId xmlns:a16="http://schemas.microsoft.com/office/drawing/2014/main" val="1991547074"/>
                    </a:ext>
                  </a:extLst>
                </a:gridCol>
                <a:gridCol w="743646">
                  <a:extLst>
                    <a:ext uri="{9D8B030D-6E8A-4147-A177-3AD203B41FA5}">
                      <a16:colId xmlns:a16="http://schemas.microsoft.com/office/drawing/2014/main" val="3360124622"/>
                    </a:ext>
                  </a:extLst>
                </a:gridCol>
                <a:gridCol w="844356">
                  <a:extLst>
                    <a:ext uri="{9D8B030D-6E8A-4147-A177-3AD203B41FA5}">
                      <a16:colId xmlns:a16="http://schemas.microsoft.com/office/drawing/2014/main" val="3271934036"/>
                    </a:ext>
                  </a:extLst>
                </a:gridCol>
              </a:tblGrid>
              <a:tr h="369277">
                <a:tc>
                  <a:txBody>
                    <a:bodyPr/>
                    <a:lstStyle/>
                    <a:p>
                      <a:pPr algn="ctr"/>
                      <a:endParaRPr lang="zh-CN" altLang="en-US" sz="1500" dirty="0"/>
                    </a:p>
                  </a:txBody>
                  <a:tcPr marL="75095" marR="75095" marT="37548" marB="37548"/>
                </a:tc>
                <a:tc>
                  <a:txBody>
                    <a:bodyPr/>
                    <a:lstStyle/>
                    <a:p>
                      <a:pPr algn="ctr"/>
                      <a:r>
                        <a:rPr lang="en-US" altLang="zh-CN" sz="1500" dirty="0"/>
                        <a:t>d_1</a:t>
                      </a:r>
                      <a:endParaRPr lang="zh-CN" altLang="en-US" sz="1500" dirty="0"/>
                    </a:p>
                  </a:txBody>
                  <a:tcPr marL="75095" marR="75095" marT="37548" marB="37548"/>
                </a:tc>
                <a:tc>
                  <a:txBody>
                    <a:bodyPr/>
                    <a:lstStyle/>
                    <a:p>
                      <a:pPr algn="ctr"/>
                      <a:r>
                        <a:rPr lang="en-US" altLang="zh-CN" sz="1500" dirty="0"/>
                        <a:t>d_2</a:t>
                      </a:r>
                      <a:endParaRPr lang="zh-CN" altLang="en-US" sz="1500" dirty="0"/>
                    </a:p>
                  </a:txBody>
                  <a:tcPr marL="75095" marR="75095" marT="37548" marB="37548"/>
                </a:tc>
                <a:tc>
                  <a:txBody>
                    <a:bodyPr/>
                    <a:lstStyle/>
                    <a:p>
                      <a:pPr algn="ctr"/>
                      <a:r>
                        <a:rPr lang="en-US" altLang="zh-CN" sz="1500" dirty="0"/>
                        <a:t>……</a:t>
                      </a:r>
                      <a:endParaRPr lang="zh-CN" altLang="en-US" sz="1500" dirty="0"/>
                    </a:p>
                  </a:txBody>
                  <a:tcPr marL="75095" marR="75095" marT="37548" marB="37548"/>
                </a:tc>
                <a:tc>
                  <a:txBody>
                    <a:bodyPr/>
                    <a:lstStyle/>
                    <a:p>
                      <a:pPr algn="ctr"/>
                      <a:r>
                        <a:rPr lang="en-US" altLang="zh-CN" sz="1500" dirty="0"/>
                        <a:t>d_14</a:t>
                      </a:r>
                      <a:endParaRPr lang="zh-CN" altLang="en-US" sz="1500" dirty="0"/>
                    </a:p>
                  </a:txBody>
                  <a:tcPr marL="75095" marR="75095" marT="37548" marB="37548"/>
                </a:tc>
                <a:tc>
                  <a:txBody>
                    <a:bodyPr/>
                    <a:lstStyle/>
                    <a:p>
                      <a:pPr algn="ctr"/>
                      <a:r>
                        <a:rPr lang="en-US" altLang="zh-CN" sz="1500" dirty="0"/>
                        <a:t>d_15</a:t>
                      </a:r>
                      <a:endParaRPr lang="zh-CN" altLang="en-US" sz="1500" dirty="0"/>
                    </a:p>
                  </a:txBody>
                  <a:tcPr marL="75095" marR="75095" marT="37548" marB="37548"/>
                </a:tc>
                <a:tc>
                  <a:txBody>
                    <a:bodyPr/>
                    <a:lstStyle/>
                    <a:p>
                      <a:pPr algn="ctr"/>
                      <a:r>
                        <a:rPr lang="en-US" altLang="zh-CN" sz="1500" dirty="0"/>
                        <a:t>d_16</a:t>
                      </a:r>
                      <a:endParaRPr lang="zh-CN" altLang="en-US" sz="1500" dirty="0"/>
                    </a:p>
                  </a:txBody>
                  <a:tcPr marL="75095" marR="75095" marT="37548" marB="37548"/>
                </a:tc>
                <a:tc>
                  <a:txBody>
                    <a:bodyPr/>
                    <a:lstStyle/>
                    <a:p>
                      <a:pPr algn="ctr"/>
                      <a:r>
                        <a:rPr lang="en-US" altLang="zh-CN" sz="1500" dirty="0"/>
                        <a:t>……</a:t>
                      </a:r>
                      <a:endParaRPr lang="zh-CN" altLang="en-US" sz="1500" dirty="0"/>
                    </a:p>
                  </a:txBody>
                  <a:tcPr marL="75095" marR="75095" marT="37548" marB="37548"/>
                </a:tc>
                <a:tc>
                  <a:txBody>
                    <a:bodyPr/>
                    <a:lstStyle/>
                    <a:p>
                      <a:pPr algn="ctr"/>
                      <a:r>
                        <a:rPr lang="en-US" altLang="zh-CN" sz="1500" dirty="0"/>
                        <a:t>d_1913</a:t>
                      </a:r>
                      <a:endParaRPr lang="zh-CN" altLang="en-US" sz="1500" dirty="0"/>
                    </a:p>
                  </a:txBody>
                  <a:tcPr marL="75095" marR="75095" marT="37548" marB="37548"/>
                </a:tc>
                <a:extLst>
                  <a:ext uri="{0D108BD9-81ED-4DB2-BD59-A6C34878D82A}">
                    <a16:rowId xmlns:a16="http://schemas.microsoft.com/office/drawing/2014/main" val="1032268966"/>
                  </a:ext>
                </a:extLst>
              </a:tr>
              <a:tr h="270206">
                <a:tc>
                  <a:txBody>
                    <a:bodyPr/>
                    <a:lstStyle/>
                    <a:p>
                      <a:pPr algn="ctr"/>
                      <a:r>
                        <a:rPr lang="en-US" altLang="zh-CN" sz="1200" dirty="0"/>
                        <a:t>sample 1</a:t>
                      </a:r>
                      <a:endParaRPr lang="zh-CN" altLang="en-US" sz="12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2308587989"/>
                  </a:ext>
                </a:extLst>
              </a:tr>
              <a:tr h="2702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t>sample 2</a:t>
                      </a:r>
                      <a:endParaRPr lang="zh-CN" altLang="en-US" sz="12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2985210730"/>
                  </a:ext>
                </a:extLst>
              </a:tr>
              <a:tr h="270206">
                <a:tc>
                  <a:txBody>
                    <a:bodyPr/>
                    <a:lstStyle/>
                    <a:p>
                      <a:pPr algn="ctr"/>
                      <a:r>
                        <a:rPr lang="en-US" altLang="zh-CN" sz="1200" dirty="0"/>
                        <a:t>……</a:t>
                      </a:r>
                      <a:endParaRPr lang="zh-CN" altLang="en-US" sz="12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1801872772"/>
                  </a:ext>
                </a:extLst>
              </a:tr>
            </a:tbl>
          </a:graphicData>
        </a:graphic>
      </p:graphicFrame>
      <p:sp>
        <p:nvSpPr>
          <p:cNvPr id="13" name="文本框 12">
            <a:extLst>
              <a:ext uri="{FF2B5EF4-FFF2-40B4-BE49-F238E27FC236}">
                <a16:creationId xmlns:a16="http://schemas.microsoft.com/office/drawing/2014/main" id="{3C73276D-3824-4C36-AA9E-10058D88A382}"/>
              </a:ext>
            </a:extLst>
          </p:cNvPr>
          <p:cNvSpPr txBox="1"/>
          <p:nvPr/>
        </p:nvSpPr>
        <p:spPr>
          <a:xfrm>
            <a:off x="5315612" y="1332934"/>
            <a:ext cx="1559169" cy="307777"/>
          </a:xfrm>
          <a:prstGeom prst="rect">
            <a:avLst/>
          </a:prstGeom>
          <a:noFill/>
        </p:spPr>
        <p:txBody>
          <a:bodyPr wrap="square" rtlCol="0">
            <a:spAutoFit/>
          </a:bodyPr>
          <a:lstStyle/>
          <a:p>
            <a:pPr algn="ctr"/>
            <a:r>
              <a:rPr lang="en-US" altLang="zh-CN" sz="1400" b="1" dirty="0"/>
              <a:t>Sales </a:t>
            </a:r>
            <a:endParaRPr lang="zh-CN" altLang="en-US" sz="1400" b="1" dirty="0"/>
          </a:p>
        </p:txBody>
      </p:sp>
      <p:graphicFrame>
        <p:nvGraphicFramePr>
          <p:cNvPr id="14" name="表格 12">
            <a:extLst>
              <a:ext uri="{FF2B5EF4-FFF2-40B4-BE49-F238E27FC236}">
                <a16:creationId xmlns:a16="http://schemas.microsoft.com/office/drawing/2014/main" id="{9F6B80D9-6F41-45C3-8165-93B7C4EDE649}"/>
              </a:ext>
            </a:extLst>
          </p:cNvPr>
          <p:cNvGraphicFramePr>
            <a:graphicFrameLocks noGrp="1"/>
          </p:cNvGraphicFramePr>
          <p:nvPr>
            <p:extLst>
              <p:ext uri="{D42A27DB-BD31-4B8C-83A1-F6EECF244321}">
                <p14:modId xmlns:p14="http://schemas.microsoft.com/office/powerpoint/2010/main" val="1490926073"/>
              </p:ext>
            </p:extLst>
          </p:nvPr>
        </p:nvGraphicFramePr>
        <p:xfrm>
          <a:off x="2698435" y="3110769"/>
          <a:ext cx="6793525" cy="1280365"/>
        </p:xfrm>
        <a:graphic>
          <a:graphicData uri="http://schemas.openxmlformats.org/drawingml/2006/table">
            <a:tbl>
              <a:tblPr firstRow="1" bandRow="1">
                <a:tableStyleId>{5C22544A-7EE6-4342-B048-85BDC9FD1C3A}</a:tableStyleId>
              </a:tblPr>
              <a:tblGrid>
                <a:gridCol w="833643">
                  <a:extLst>
                    <a:ext uri="{9D8B030D-6E8A-4147-A177-3AD203B41FA5}">
                      <a16:colId xmlns:a16="http://schemas.microsoft.com/office/drawing/2014/main" val="411855113"/>
                    </a:ext>
                  </a:extLst>
                </a:gridCol>
                <a:gridCol w="653650">
                  <a:extLst>
                    <a:ext uri="{9D8B030D-6E8A-4147-A177-3AD203B41FA5}">
                      <a16:colId xmlns:a16="http://schemas.microsoft.com/office/drawing/2014/main" val="2042086186"/>
                    </a:ext>
                  </a:extLst>
                </a:gridCol>
                <a:gridCol w="743646">
                  <a:extLst>
                    <a:ext uri="{9D8B030D-6E8A-4147-A177-3AD203B41FA5}">
                      <a16:colId xmlns:a16="http://schemas.microsoft.com/office/drawing/2014/main" val="2641367682"/>
                    </a:ext>
                  </a:extLst>
                </a:gridCol>
                <a:gridCol w="743646">
                  <a:extLst>
                    <a:ext uri="{9D8B030D-6E8A-4147-A177-3AD203B41FA5}">
                      <a16:colId xmlns:a16="http://schemas.microsoft.com/office/drawing/2014/main" val="3091265112"/>
                    </a:ext>
                  </a:extLst>
                </a:gridCol>
                <a:gridCol w="743646">
                  <a:extLst>
                    <a:ext uri="{9D8B030D-6E8A-4147-A177-3AD203B41FA5}">
                      <a16:colId xmlns:a16="http://schemas.microsoft.com/office/drawing/2014/main" val="680272370"/>
                    </a:ext>
                  </a:extLst>
                </a:gridCol>
                <a:gridCol w="743646">
                  <a:extLst>
                    <a:ext uri="{9D8B030D-6E8A-4147-A177-3AD203B41FA5}">
                      <a16:colId xmlns:a16="http://schemas.microsoft.com/office/drawing/2014/main" val="1238562346"/>
                    </a:ext>
                  </a:extLst>
                </a:gridCol>
                <a:gridCol w="743646">
                  <a:extLst>
                    <a:ext uri="{9D8B030D-6E8A-4147-A177-3AD203B41FA5}">
                      <a16:colId xmlns:a16="http://schemas.microsoft.com/office/drawing/2014/main" val="1991547074"/>
                    </a:ext>
                  </a:extLst>
                </a:gridCol>
                <a:gridCol w="743646">
                  <a:extLst>
                    <a:ext uri="{9D8B030D-6E8A-4147-A177-3AD203B41FA5}">
                      <a16:colId xmlns:a16="http://schemas.microsoft.com/office/drawing/2014/main" val="3360124622"/>
                    </a:ext>
                  </a:extLst>
                </a:gridCol>
                <a:gridCol w="844356">
                  <a:extLst>
                    <a:ext uri="{9D8B030D-6E8A-4147-A177-3AD203B41FA5}">
                      <a16:colId xmlns:a16="http://schemas.microsoft.com/office/drawing/2014/main" val="3271934036"/>
                    </a:ext>
                  </a:extLst>
                </a:gridCol>
              </a:tblGrid>
              <a:tr h="369277">
                <a:tc>
                  <a:txBody>
                    <a:bodyPr/>
                    <a:lstStyle/>
                    <a:p>
                      <a:pPr algn="ctr"/>
                      <a:endParaRPr lang="zh-CN" altLang="en-US" sz="1500" dirty="0"/>
                    </a:p>
                  </a:txBody>
                  <a:tcPr marL="75095" marR="75095" marT="37548" marB="37548"/>
                </a:tc>
                <a:tc>
                  <a:txBody>
                    <a:bodyPr/>
                    <a:lstStyle/>
                    <a:p>
                      <a:pPr algn="ctr"/>
                      <a:r>
                        <a:rPr lang="en-US" altLang="zh-CN" sz="1500" dirty="0"/>
                        <a:t>d_1</a:t>
                      </a:r>
                      <a:endParaRPr lang="zh-CN" altLang="en-US" sz="1500" dirty="0"/>
                    </a:p>
                  </a:txBody>
                  <a:tcPr marL="75095" marR="75095" marT="37548" marB="37548"/>
                </a:tc>
                <a:tc>
                  <a:txBody>
                    <a:bodyPr/>
                    <a:lstStyle/>
                    <a:p>
                      <a:pPr algn="ctr"/>
                      <a:r>
                        <a:rPr lang="en-US" altLang="zh-CN" sz="1500" dirty="0"/>
                        <a:t>d_2</a:t>
                      </a:r>
                      <a:endParaRPr lang="zh-CN" altLang="en-US" sz="1500" dirty="0"/>
                    </a:p>
                  </a:txBody>
                  <a:tcPr marL="75095" marR="75095" marT="37548" marB="37548"/>
                </a:tc>
                <a:tc>
                  <a:txBody>
                    <a:bodyPr/>
                    <a:lstStyle/>
                    <a:p>
                      <a:pPr algn="ctr"/>
                      <a:r>
                        <a:rPr lang="en-US" altLang="zh-CN" sz="1500" dirty="0"/>
                        <a:t>……</a:t>
                      </a:r>
                      <a:endParaRPr lang="zh-CN" altLang="en-US" sz="1500" dirty="0"/>
                    </a:p>
                  </a:txBody>
                  <a:tcPr marL="75095" marR="75095" marT="37548" marB="37548"/>
                </a:tc>
                <a:tc>
                  <a:txBody>
                    <a:bodyPr/>
                    <a:lstStyle/>
                    <a:p>
                      <a:pPr algn="ctr"/>
                      <a:r>
                        <a:rPr lang="en-US" altLang="zh-CN" sz="1500" dirty="0"/>
                        <a:t>d_14</a:t>
                      </a:r>
                      <a:endParaRPr lang="zh-CN" altLang="en-US" sz="1500" dirty="0"/>
                    </a:p>
                  </a:txBody>
                  <a:tcPr marL="75095" marR="75095" marT="37548" marB="37548"/>
                </a:tc>
                <a:tc>
                  <a:txBody>
                    <a:bodyPr/>
                    <a:lstStyle/>
                    <a:p>
                      <a:pPr algn="ctr"/>
                      <a:r>
                        <a:rPr lang="en-US" altLang="zh-CN" sz="1500" dirty="0"/>
                        <a:t>d_15</a:t>
                      </a:r>
                      <a:endParaRPr lang="zh-CN" altLang="en-US" sz="1500" dirty="0"/>
                    </a:p>
                  </a:txBody>
                  <a:tcPr marL="75095" marR="75095" marT="37548" marB="37548"/>
                </a:tc>
                <a:tc>
                  <a:txBody>
                    <a:bodyPr/>
                    <a:lstStyle/>
                    <a:p>
                      <a:pPr algn="ctr"/>
                      <a:r>
                        <a:rPr lang="en-US" altLang="zh-CN" sz="1500" dirty="0"/>
                        <a:t>d_16</a:t>
                      </a:r>
                      <a:endParaRPr lang="zh-CN" altLang="en-US" sz="1500" dirty="0"/>
                    </a:p>
                  </a:txBody>
                  <a:tcPr marL="75095" marR="75095" marT="37548" marB="37548"/>
                </a:tc>
                <a:tc>
                  <a:txBody>
                    <a:bodyPr/>
                    <a:lstStyle/>
                    <a:p>
                      <a:pPr algn="ctr"/>
                      <a:r>
                        <a:rPr lang="en-US" altLang="zh-CN" sz="1500" dirty="0"/>
                        <a:t>……</a:t>
                      </a:r>
                      <a:endParaRPr lang="zh-CN" altLang="en-US" sz="1500" dirty="0"/>
                    </a:p>
                  </a:txBody>
                  <a:tcPr marL="75095" marR="75095" marT="37548" marB="37548"/>
                </a:tc>
                <a:tc>
                  <a:txBody>
                    <a:bodyPr/>
                    <a:lstStyle/>
                    <a:p>
                      <a:pPr algn="ctr"/>
                      <a:r>
                        <a:rPr lang="en-US" altLang="zh-CN" sz="1500" dirty="0"/>
                        <a:t>d_1913</a:t>
                      </a:r>
                      <a:endParaRPr lang="zh-CN" altLang="en-US" sz="1500" dirty="0"/>
                    </a:p>
                  </a:txBody>
                  <a:tcPr marL="75095" marR="75095" marT="37548" marB="37548"/>
                </a:tc>
                <a:extLst>
                  <a:ext uri="{0D108BD9-81ED-4DB2-BD59-A6C34878D82A}">
                    <a16:rowId xmlns:a16="http://schemas.microsoft.com/office/drawing/2014/main" val="1032268966"/>
                  </a:ext>
                </a:extLst>
              </a:tr>
              <a:tr h="270206">
                <a:tc>
                  <a:txBody>
                    <a:bodyPr/>
                    <a:lstStyle/>
                    <a:p>
                      <a:pPr algn="ctr"/>
                      <a:r>
                        <a:rPr lang="en-US" altLang="zh-CN" sz="1200" dirty="0" err="1"/>
                        <a:t>W_day</a:t>
                      </a:r>
                      <a:endParaRPr lang="zh-CN" altLang="en-US" sz="12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2308587989"/>
                  </a:ext>
                </a:extLst>
              </a:tr>
              <a:tr h="2702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t>Event</a:t>
                      </a:r>
                      <a:endParaRPr lang="zh-CN" altLang="en-US" sz="12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2985210730"/>
                  </a:ext>
                </a:extLst>
              </a:tr>
              <a:tr h="270206">
                <a:tc>
                  <a:txBody>
                    <a:bodyPr/>
                    <a:lstStyle/>
                    <a:p>
                      <a:pPr algn="ctr"/>
                      <a:r>
                        <a:rPr lang="en-US" altLang="zh-CN" sz="1200" dirty="0"/>
                        <a:t>……</a:t>
                      </a:r>
                      <a:endParaRPr lang="zh-CN" altLang="en-US" sz="12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tc>
                  <a:txBody>
                    <a:bodyPr/>
                    <a:lstStyle/>
                    <a:p>
                      <a:pPr algn="ctr"/>
                      <a:endParaRPr lang="zh-CN" altLang="en-US" sz="1500" dirty="0"/>
                    </a:p>
                  </a:txBody>
                  <a:tcPr marL="75095" marR="75095" marT="37548" marB="37548"/>
                </a:tc>
                <a:extLst>
                  <a:ext uri="{0D108BD9-81ED-4DB2-BD59-A6C34878D82A}">
                    <a16:rowId xmlns:a16="http://schemas.microsoft.com/office/drawing/2014/main" val="1801872772"/>
                  </a:ext>
                </a:extLst>
              </a:tr>
            </a:tbl>
          </a:graphicData>
        </a:graphic>
      </p:graphicFrame>
      <p:sp>
        <p:nvSpPr>
          <p:cNvPr id="15" name="文本框 14">
            <a:extLst>
              <a:ext uri="{FF2B5EF4-FFF2-40B4-BE49-F238E27FC236}">
                <a16:creationId xmlns:a16="http://schemas.microsoft.com/office/drawing/2014/main" id="{D8CEE360-8A3A-4723-A772-A3C787E39999}"/>
              </a:ext>
            </a:extLst>
          </p:cNvPr>
          <p:cNvSpPr txBox="1"/>
          <p:nvPr/>
        </p:nvSpPr>
        <p:spPr>
          <a:xfrm>
            <a:off x="5123138" y="2853410"/>
            <a:ext cx="1944115" cy="307777"/>
          </a:xfrm>
          <a:prstGeom prst="rect">
            <a:avLst/>
          </a:prstGeom>
          <a:noFill/>
        </p:spPr>
        <p:txBody>
          <a:bodyPr wrap="square" rtlCol="0">
            <a:spAutoFit/>
          </a:bodyPr>
          <a:lstStyle/>
          <a:p>
            <a:pPr algn="ctr"/>
            <a:r>
              <a:rPr lang="en-US" altLang="zh-CN" sz="1400" b="1" dirty="0"/>
              <a:t>Calendar attributes</a:t>
            </a:r>
            <a:endParaRPr lang="zh-CN" altLang="en-US" sz="1400" b="1" dirty="0"/>
          </a:p>
        </p:txBody>
      </p:sp>
      <p:sp>
        <p:nvSpPr>
          <p:cNvPr id="16" name="矩形 15">
            <a:extLst>
              <a:ext uri="{FF2B5EF4-FFF2-40B4-BE49-F238E27FC236}">
                <a16:creationId xmlns:a16="http://schemas.microsoft.com/office/drawing/2014/main" id="{DB6721E3-89D4-4834-A7A0-037FC9569897}"/>
              </a:ext>
            </a:extLst>
          </p:cNvPr>
          <p:cNvSpPr/>
          <p:nvPr/>
        </p:nvSpPr>
        <p:spPr>
          <a:xfrm>
            <a:off x="3751385" y="2018367"/>
            <a:ext cx="2385646" cy="201584"/>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input</a:t>
            </a:r>
            <a:endParaRPr lang="zh-CN" altLang="en-US" dirty="0">
              <a:solidFill>
                <a:schemeClr val="tx1"/>
              </a:solidFill>
            </a:endParaRPr>
          </a:p>
        </p:txBody>
      </p:sp>
      <p:sp>
        <p:nvSpPr>
          <p:cNvPr id="17" name="矩形 16">
            <a:extLst>
              <a:ext uri="{FF2B5EF4-FFF2-40B4-BE49-F238E27FC236}">
                <a16:creationId xmlns:a16="http://schemas.microsoft.com/office/drawing/2014/main" id="{88148488-A1A7-4DFD-9C67-9CDE5078A899}"/>
              </a:ext>
            </a:extLst>
          </p:cNvPr>
          <p:cNvSpPr/>
          <p:nvPr/>
        </p:nvSpPr>
        <p:spPr>
          <a:xfrm>
            <a:off x="4431331" y="2323164"/>
            <a:ext cx="2385646" cy="201584"/>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input</a:t>
            </a:r>
            <a:endParaRPr lang="zh-CN" altLang="en-US" dirty="0"/>
          </a:p>
        </p:txBody>
      </p:sp>
      <p:sp>
        <p:nvSpPr>
          <p:cNvPr id="18" name="矩形 17">
            <a:extLst>
              <a:ext uri="{FF2B5EF4-FFF2-40B4-BE49-F238E27FC236}">
                <a16:creationId xmlns:a16="http://schemas.microsoft.com/office/drawing/2014/main" id="{7281BD51-A304-4DCC-AD92-222EE751ECAD}"/>
              </a:ext>
            </a:extLst>
          </p:cNvPr>
          <p:cNvSpPr/>
          <p:nvPr/>
        </p:nvSpPr>
        <p:spPr>
          <a:xfrm>
            <a:off x="7948245" y="2643555"/>
            <a:ext cx="662354" cy="191860"/>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rPr>
              <a:t>input</a:t>
            </a:r>
            <a:endParaRPr lang="zh-CN" altLang="en-US" sz="1200" dirty="0"/>
          </a:p>
        </p:txBody>
      </p:sp>
      <p:sp>
        <p:nvSpPr>
          <p:cNvPr id="19" name="矩形 18">
            <a:extLst>
              <a:ext uri="{FF2B5EF4-FFF2-40B4-BE49-F238E27FC236}">
                <a16:creationId xmlns:a16="http://schemas.microsoft.com/office/drawing/2014/main" id="{2CD7B1F5-9699-4587-B724-9CD944D30DCB}"/>
              </a:ext>
            </a:extLst>
          </p:cNvPr>
          <p:cNvSpPr/>
          <p:nvPr/>
        </p:nvSpPr>
        <p:spPr>
          <a:xfrm>
            <a:off x="6535615" y="2018367"/>
            <a:ext cx="531638" cy="197993"/>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tx1"/>
                </a:solidFill>
              </a:rPr>
              <a:t>output</a:t>
            </a:r>
            <a:endParaRPr lang="zh-CN" altLang="en-US" sz="900" dirty="0">
              <a:solidFill>
                <a:schemeClr val="tx1"/>
              </a:solidFill>
            </a:endParaRPr>
          </a:p>
        </p:txBody>
      </p:sp>
      <p:sp>
        <p:nvSpPr>
          <p:cNvPr id="21" name="矩形 20">
            <a:extLst>
              <a:ext uri="{FF2B5EF4-FFF2-40B4-BE49-F238E27FC236}">
                <a16:creationId xmlns:a16="http://schemas.microsoft.com/office/drawing/2014/main" id="{1964CEE1-3665-4BF7-9723-6160A2AE7A60}"/>
              </a:ext>
            </a:extLst>
          </p:cNvPr>
          <p:cNvSpPr/>
          <p:nvPr/>
        </p:nvSpPr>
        <p:spPr>
          <a:xfrm>
            <a:off x="7274169" y="2342360"/>
            <a:ext cx="531638" cy="197993"/>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tx1"/>
                </a:solidFill>
              </a:rPr>
              <a:t>output</a:t>
            </a:r>
            <a:endParaRPr lang="zh-CN" altLang="en-US" sz="900" dirty="0"/>
          </a:p>
        </p:txBody>
      </p:sp>
      <p:sp>
        <p:nvSpPr>
          <p:cNvPr id="22" name="矩形 21">
            <a:extLst>
              <a:ext uri="{FF2B5EF4-FFF2-40B4-BE49-F238E27FC236}">
                <a16:creationId xmlns:a16="http://schemas.microsoft.com/office/drawing/2014/main" id="{1DC7D739-E83E-41AC-A71E-12101BA0B2CB}"/>
              </a:ext>
            </a:extLst>
          </p:cNvPr>
          <p:cNvSpPr/>
          <p:nvPr/>
        </p:nvSpPr>
        <p:spPr>
          <a:xfrm>
            <a:off x="8785464" y="2639728"/>
            <a:ext cx="531638" cy="197993"/>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tx1"/>
                </a:solidFill>
              </a:rPr>
              <a:t>output</a:t>
            </a:r>
            <a:endParaRPr lang="zh-CN" altLang="en-US" sz="900" dirty="0"/>
          </a:p>
        </p:txBody>
      </p:sp>
      <p:sp>
        <p:nvSpPr>
          <p:cNvPr id="23" name="矩形 22">
            <a:extLst>
              <a:ext uri="{FF2B5EF4-FFF2-40B4-BE49-F238E27FC236}">
                <a16:creationId xmlns:a16="http://schemas.microsoft.com/office/drawing/2014/main" id="{80C29AF2-2E2E-48ED-A265-C87DDE6889FE}"/>
              </a:ext>
            </a:extLst>
          </p:cNvPr>
          <p:cNvSpPr/>
          <p:nvPr/>
        </p:nvSpPr>
        <p:spPr>
          <a:xfrm>
            <a:off x="3751385" y="3496609"/>
            <a:ext cx="2385646" cy="753608"/>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a:solidFill>
                  <a:schemeClr val="tx1"/>
                </a:solidFill>
              </a:rPr>
              <a:t>Input</a:t>
            </a:r>
          </a:p>
          <a:p>
            <a:r>
              <a:rPr lang="en-US" altLang="zh-CN" sz="1200" dirty="0">
                <a:solidFill>
                  <a:schemeClr val="tx1"/>
                </a:solidFill>
              </a:rPr>
              <a:t>sample1</a:t>
            </a:r>
            <a:endParaRPr lang="zh-CN" altLang="en-US" dirty="0">
              <a:solidFill>
                <a:schemeClr val="tx1"/>
              </a:solidFill>
            </a:endParaRPr>
          </a:p>
        </p:txBody>
      </p:sp>
      <p:sp>
        <p:nvSpPr>
          <p:cNvPr id="24" name="矩形 23">
            <a:extLst>
              <a:ext uri="{FF2B5EF4-FFF2-40B4-BE49-F238E27FC236}">
                <a16:creationId xmlns:a16="http://schemas.microsoft.com/office/drawing/2014/main" id="{7CC9AA79-1D79-4951-9A2C-248FB4D196C3}"/>
              </a:ext>
            </a:extLst>
          </p:cNvPr>
          <p:cNvSpPr/>
          <p:nvPr/>
        </p:nvSpPr>
        <p:spPr>
          <a:xfrm>
            <a:off x="4489135" y="3567167"/>
            <a:ext cx="2385646" cy="753608"/>
          </a:xfrm>
          <a:prstGeom prst="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a:solidFill>
                  <a:schemeClr val="tx1"/>
                </a:solidFill>
              </a:rPr>
              <a:t>Input</a:t>
            </a:r>
          </a:p>
          <a:p>
            <a:r>
              <a:rPr lang="en-US" altLang="zh-CN" sz="1200" dirty="0">
                <a:solidFill>
                  <a:schemeClr val="tx1"/>
                </a:solidFill>
              </a:rPr>
              <a:t>sample2</a:t>
            </a:r>
            <a:endParaRPr lang="zh-CN" altLang="en-US" dirty="0">
              <a:solidFill>
                <a:schemeClr val="tx1"/>
              </a:solidFill>
            </a:endParaRPr>
          </a:p>
        </p:txBody>
      </p:sp>
      <p:cxnSp>
        <p:nvCxnSpPr>
          <p:cNvPr id="26" name="直接箭头连接符 25">
            <a:extLst>
              <a:ext uri="{FF2B5EF4-FFF2-40B4-BE49-F238E27FC236}">
                <a16:creationId xmlns:a16="http://schemas.microsoft.com/office/drawing/2014/main" id="{47A83AFF-E024-4E04-A363-FFC9FE05CDBD}"/>
              </a:ext>
            </a:extLst>
          </p:cNvPr>
          <p:cNvCxnSpPr/>
          <p:nvPr/>
        </p:nvCxnSpPr>
        <p:spPr>
          <a:xfrm flipH="1">
            <a:off x="3897923" y="4136951"/>
            <a:ext cx="263769" cy="11167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直接箭头连接符 26">
            <a:extLst>
              <a:ext uri="{FF2B5EF4-FFF2-40B4-BE49-F238E27FC236}">
                <a16:creationId xmlns:a16="http://schemas.microsoft.com/office/drawing/2014/main" id="{ABC21306-4969-4084-BD55-D95C3C0477BF}"/>
              </a:ext>
            </a:extLst>
          </p:cNvPr>
          <p:cNvCxnSpPr>
            <a:cxnSpLocks/>
          </p:cNvCxnSpPr>
          <p:nvPr/>
        </p:nvCxnSpPr>
        <p:spPr>
          <a:xfrm flipH="1">
            <a:off x="3618278" y="2174765"/>
            <a:ext cx="496664" cy="35976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直接箭头连接符 29">
            <a:extLst>
              <a:ext uri="{FF2B5EF4-FFF2-40B4-BE49-F238E27FC236}">
                <a16:creationId xmlns:a16="http://schemas.microsoft.com/office/drawing/2014/main" id="{D9E5718E-76E0-4FD4-B737-9655B3F66929}"/>
              </a:ext>
            </a:extLst>
          </p:cNvPr>
          <p:cNvCxnSpPr>
            <a:cxnSpLocks/>
          </p:cNvCxnSpPr>
          <p:nvPr/>
        </p:nvCxnSpPr>
        <p:spPr>
          <a:xfrm>
            <a:off x="6731779" y="2117363"/>
            <a:ext cx="1986429" cy="35108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文本框 32">
            <a:extLst>
              <a:ext uri="{FF2B5EF4-FFF2-40B4-BE49-F238E27FC236}">
                <a16:creationId xmlns:a16="http://schemas.microsoft.com/office/drawing/2014/main" id="{5A10F755-5926-410F-A6D8-0B48388BA694}"/>
              </a:ext>
            </a:extLst>
          </p:cNvPr>
          <p:cNvSpPr txBox="1"/>
          <p:nvPr/>
        </p:nvSpPr>
        <p:spPr>
          <a:xfrm>
            <a:off x="10189739" y="2665085"/>
            <a:ext cx="1225738" cy="646331"/>
          </a:xfrm>
          <a:prstGeom prst="rect">
            <a:avLst/>
          </a:prstGeom>
          <a:noFill/>
        </p:spPr>
        <p:txBody>
          <a:bodyPr wrap="square" rtlCol="0">
            <a:spAutoFit/>
          </a:bodyPr>
          <a:lstStyle/>
          <a:p>
            <a:pPr algn="ctr"/>
            <a:r>
              <a:rPr lang="en-US" altLang="zh-CN" dirty="0"/>
              <a:t>1899 samples</a:t>
            </a:r>
            <a:endParaRPr lang="zh-CN" altLang="en-US" dirty="0"/>
          </a:p>
        </p:txBody>
      </p:sp>
      <p:sp>
        <p:nvSpPr>
          <p:cNvPr id="35" name="右大括号 34">
            <a:extLst>
              <a:ext uri="{FF2B5EF4-FFF2-40B4-BE49-F238E27FC236}">
                <a16:creationId xmlns:a16="http://schemas.microsoft.com/office/drawing/2014/main" id="{A3835D41-9792-4127-8C34-2D034610F7EF}"/>
              </a:ext>
            </a:extLst>
          </p:cNvPr>
          <p:cNvSpPr/>
          <p:nvPr/>
        </p:nvSpPr>
        <p:spPr>
          <a:xfrm>
            <a:off x="9653954" y="1640711"/>
            <a:ext cx="453609" cy="2609506"/>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From point to uncertainty estimation</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7</a:t>
            </a:fld>
            <a:endParaRPr lang="zh-CN" altLang="en-US"/>
          </a:p>
        </p:txBody>
      </p:sp>
      <p:sp>
        <p:nvSpPr>
          <p:cNvPr id="5" name="文本框 4"/>
          <p:cNvSpPr txBox="1"/>
          <p:nvPr/>
        </p:nvSpPr>
        <p:spPr>
          <a:xfrm>
            <a:off x="668655" y="1510328"/>
            <a:ext cx="10851515" cy="1477328"/>
          </a:xfrm>
          <a:prstGeom prst="rect">
            <a:avLst/>
          </a:prstGeom>
          <a:noFill/>
        </p:spPr>
        <p:txBody>
          <a:bodyPr wrap="square" rtlCol="0" anchor="t">
            <a:spAutoFit/>
          </a:bodyPr>
          <a:lstStyle/>
          <a:p>
            <a:r>
              <a:rPr dirty="0"/>
              <a:t>In </a:t>
            </a:r>
            <a:r>
              <a:rPr lang="en-US" dirty="0"/>
              <a:t>M5</a:t>
            </a:r>
            <a:r>
              <a:rPr dirty="0"/>
              <a:t> accuracy competition, the</a:t>
            </a:r>
            <a:r>
              <a:rPr lang="en-US" dirty="0"/>
              <a:t> </a:t>
            </a:r>
            <a:r>
              <a:rPr dirty="0"/>
              <a:t>sales</a:t>
            </a:r>
            <a:r>
              <a:rPr lang="en-US" dirty="0"/>
              <a:t> for each item are estimated</a:t>
            </a:r>
            <a:r>
              <a:rPr dirty="0"/>
              <a:t>. In the uncertainty compet</a:t>
            </a:r>
            <a:r>
              <a:rPr lang="en-US" dirty="0"/>
              <a:t>i</a:t>
            </a:r>
            <a:r>
              <a:rPr dirty="0"/>
              <a:t>tion, the previous estimat</a:t>
            </a:r>
            <a:r>
              <a:rPr lang="en-US" dirty="0"/>
              <a:t>ion </a:t>
            </a:r>
            <a:r>
              <a:rPr dirty="0"/>
              <a:t>could be utilized to</a:t>
            </a:r>
            <a:r>
              <a:rPr lang="en-US" dirty="0"/>
              <a:t> </a:t>
            </a:r>
            <a:r>
              <a:rPr dirty="0"/>
              <a:t>do the range prediction. Actually, the 0.5 quantile is exactly what we had estimated in the accuracy</a:t>
            </a:r>
            <a:r>
              <a:rPr lang="en-US" dirty="0"/>
              <a:t> </a:t>
            </a:r>
            <a:r>
              <a:rPr dirty="0"/>
              <a:t>competition. We assume it is a normal distribution with the 0.5 quantile as the mean value and the</a:t>
            </a:r>
            <a:r>
              <a:rPr lang="en-US" dirty="0"/>
              <a:t> </a:t>
            </a:r>
            <a:r>
              <a:rPr dirty="0"/>
              <a:t>other </a:t>
            </a:r>
            <a:r>
              <a:rPr lang="en-US" dirty="0"/>
              <a:t>8</a:t>
            </a:r>
            <a:r>
              <a:rPr dirty="0"/>
              <a:t> quantiles can be estimated. </a:t>
            </a:r>
            <a:r>
              <a:rPr lang="en-US" dirty="0"/>
              <a:t>In our project, </a:t>
            </a:r>
            <a:r>
              <a:rPr dirty="0" err="1"/>
              <a:t>Scipy</a:t>
            </a:r>
            <a:r>
              <a:rPr dirty="0"/>
              <a:t> toolkit is utilized to calculate the corresponding quantiles.</a:t>
            </a:r>
          </a:p>
        </p:txBody>
      </p:sp>
      <p:pic>
        <p:nvPicPr>
          <p:cNvPr id="7" name="图片 6">
            <a:extLst>
              <a:ext uri="{FF2B5EF4-FFF2-40B4-BE49-F238E27FC236}">
                <a16:creationId xmlns:a16="http://schemas.microsoft.com/office/drawing/2014/main" id="{0D7AAC48-CCF9-4D86-9765-41667BE4BE9E}"/>
              </a:ext>
            </a:extLst>
          </p:cNvPr>
          <p:cNvPicPr>
            <a:picLocks noChangeAspect="1"/>
          </p:cNvPicPr>
          <p:nvPr/>
        </p:nvPicPr>
        <p:blipFill rotWithShape="1">
          <a:blip r:embed="rId3"/>
          <a:srcRect t="17676" b="33014"/>
          <a:stretch/>
        </p:blipFill>
        <p:spPr>
          <a:xfrm>
            <a:off x="2784231" y="3856890"/>
            <a:ext cx="6135463" cy="2010139"/>
          </a:xfrm>
          <a:prstGeom prst="rect">
            <a:avLst/>
          </a:prstGeom>
          <a:ln>
            <a:noFill/>
          </a:ln>
          <a:effectLst>
            <a:outerShdw blurRad="190500" algn="tl" rotWithShape="0">
              <a:srgbClr val="000000">
                <a:alpha val="70000"/>
              </a:srgbClr>
            </a:outerShdw>
          </a:effectLst>
        </p:spPr>
      </p:pic>
      <p:cxnSp>
        <p:nvCxnSpPr>
          <p:cNvPr id="10" name="直接连接符 9">
            <a:extLst>
              <a:ext uri="{FF2B5EF4-FFF2-40B4-BE49-F238E27FC236}">
                <a16:creationId xmlns:a16="http://schemas.microsoft.com/office/drawing/2014/main" id="{DF5A113B-E7EE-49C6-B0D0-513741A9F456}"/>
              </a:ext>
            </a:extLst>
          </p:cNvPr>
          <p:cNvCxnSpPr>
            <a:cxnSpLocks/>
          </p:cNvCxnSpPr>
          <p:nvPr/>
        </p:nvCxnSpPr>
        <p:spPr>
          <a:xfrm>
            <a:off x="5808785" y="4138249"/>
            <a:ext cx="0" cy="175910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直接连接符 12">
            <a:extLst>
              <a:ext uri="{FF2B5EF4-FFF2-40B4-BE49-F238E27FC236}">
                <a16:creationId xmlns:a16="http://schemas.microsoft.com/office/drawing/2014/main" id="{BFF65B8B-0CAE-4FBD-9746-0FB66CDBF335}"/>
              </a:ext>
            </a:extLst>
          </p:cNvPr>
          <p:cNvCxnSpPr>
            <a:cxnSpLocks/>
          </p:cNvCxnSpPr>
          <p:nvPr/>
        </p:nvCxnSpPr>
        <p:spPr>
          <a:xfrm>
            <a:off x="5351584" y="4507527"/>
            <a:ext cx="0" cy="1351496"/>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直接连接符 16">
            <a:extLst>
              <a:ext uri="{FF2B5EF4-FFF2-40B4-BE49-F238E27FC236}">
                <a16:creationId xmlns:a16="http://schemas.microsoft.com/office/drawing/2014/main" id="{C1010228-F7FF-48F3-B809-D363E11D1288}"/>
              </a:ext>
            </a:extLst>
          </p:cNvPr>
          <p:cNvCxnSpPr>
            <a:cxnSpLocks/>
          </p:cNvCxnSpPr>
          <p:nvPr/>
        </p:nvCxnSpPr>
        <p:spPr>
          <a:xfrm>
            <a:off x="6277714" y="4484080"/>
            <a:ext cx="0" cy="1351496"/>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文本框 17">
            <a:extLst>
              <a:ext uri="{FF2B5EF4-FFF2-40B4-BE49-F238E27FC236}">
                <a16:creationId xmlns:a16="http://schemas.microsoft.com/office/drawing/2014/main" id="{E832CA00-0A5E-4CDD-8E70-285B6808608E}"/>
              </a:ext>
            </a:extLst>
          </p:cNvPr>
          <p:cNvSpPr txBox="1"/>
          <p:nvPr/>
        </p:nvSpPr>
        <p:spPr>
          <a:xfrm>
            <a:off x="5173107" y="5902201"/>
            <a:ext cx="1362505" cy="646331"/>
          </a:xfrm>
          <a:prstGeom prst="rect">
            <a:avLst/>
          </a:prstGeom>
          <a:noFill/>
        </p:spPr>
        <p:txBody>
          <a:bodyPr wrap="square" rtlCol="0">
            <a:spAutoFit/>
          </a:bodyPr>
          <a:lstStyle/>
          <a:p>
            <a:pPr algn="ctr"/>
            <a:r>
              <a:rPr lang="en-US" altLang="zh-CN" sz="1200" dirty="0"/>
              <a:t>0.25   0.5    0.75</a:t>
            </a:r>
          </a:p>
          <a:p>
            <a:pPr algn="ctr"/>
            <a:endParaRPr lang="en-US" altLang="zh-CN" sz="1200" dirty="0"/>
          </a:p>
          <a:p>
            <a:pPr algn="ctr"/>
            <a:r>
              <a:rPr lang="en-US" altLang="zh-CN" sz="1200" dirty="0"/>
              <a:t>quantil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Results of Uncertainty</a:t>
            </a:r>
          </a:p>
        </p:txBody>
      </p:sp>
      <p:sp>
        <p:nvSpPr>
          <p:cNvPr id="6" name="文本占位符 5"/>
          <p:cNvSpPr>
            <a:spLocks noGrp="1"/>
          </p:cNvSpPr>
          <p:nvPr>
            <p:ph type="body" idx="1"/>
          </p:nvPr>
        </p:nvSpPr>
        <p:spPr/>
        <p:txBody>
          <a:bodyPr/>
          <a:lstStyle/>
          <a:p>
            <a:pPr lvl="0">
              <a:lnSpc>
                <a:spcPct val="100000"/>
              </a:lnSpc>
            </a:pPr>
            <a:r>
              <a:rPr lang="en-US" altLang="zh-CN" dirty="0"/>
              <a:t>About</a:t>
            </a:r>
          </a:p>
          <a:p>
            <a:pPr lvl="0">
              <a:lnSpc>
                <a:spcPct val="100000"/>
              </a:lnSpc>
            </a:pPr>
            <a:r>
              <a:rPr lang="en-US" altLang="zh-CN" dirty="0"/>
              <a:t>M5</a:t>
            </a:r>
            <a:r>
              <a:rPr lang="zh-CN" altLang="en-US" dirty="0"/>
              <a:t> </a:t>
            </a:r>
            <a:r>
              <a:rPr lang="en-US" altLang="zh-CN" dirty="0"/>
              <a:t>Forecasting</a:t>
            </a:r>
            <a:r>
              <a:rPr lang="zh-CN" altLang="en-US" dirty="0"/>
              <a:t>：</a:t>
            </a:r>
            <a:r>
              <a:rPr lang="en-US" altLang="zh-CN" dirty="0"/>
              <a:t>Accuracy &amp; Uncertainty</a:t>
            </a:r>
            <a:endParaRPr lang="zh-CN" altLang="en-US" dirty="0"/>
          </a:p>
        </p:txBody>
      </p:sp>
      <p:sp>
        <p:nvSpPr>
          <p:cNvPr id="9" name="文本框 8"/>
          <p:cNvSpPr txBox="1"/>
          <p:nvPr/>
        </p:nvSpPr>
        <p:spPr>
          <a:xfrm>
            <a:off x="3543251" y="272849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Result of M5 Forecasting - uncertainty</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9</a:t>
            </a:fld>
            <a:endParaRPr lang="zh-CN" altLang="en-US"/>
          </a:p>
        </p:txBody>
      </p:sp>
      <p:graphicFrame>
        <p:nvGraphicFramePr>
          <p:cNvPr id="6" name="表格 5"/>
          <p:cNvGraphicFramePr/>
          <p:nvPr>
            <p:custDataLst>
              <p:tags r:id="rId1"/>
            </p:custDataLst>
            <p:extLst>
              <p:ext uri="{D42A27DB-BD31-4B8C-83A1-F6EECF244321}">
                <p14:modId xmlns:p14="http://schemas.microsoft.com/office/powerpoint/2010/main" val="4171892098"/>
              </p:ext>
            </p:extLst>
          </p:nvPr>
        </p:nvGraphicFramePr>
        <p:xfrm>
          <a:off x="518160" y="2322195"/>
          <a:ext cx="11074400" cy="2664460"/>
        </p:xfrm>
        <a:graphic>
          <a:graphicData uri="http://schemas.openxmlformats.org/drawingml/2006/table">
            <a:tbl>
              <a:tblPr firstRow="1" bandRow="1">
                <a:tableStyleId>{5C22544A-7EE6-4342-B048-85BDC9FD1C3A}</a:tableStyleId>
              </a:tblPr>
              <a:tblGrid>
                <a:gridCol w="4900295">
                  <a:extLst>
                    <a:ext uri="{9D8B030D-6E8A-4147-A177-3AD203B41FA5}">
                      <a16:colId xmlns:a16="http://schemas.microsoft.com/office/drawing/2014/main" val="20000"/>
                    </a:ext>
                  </a:extLst>
                </a:gridCol>
                <a:gridCol w="3092450">
                  <a:extLst>
                    <a:ext uri="{9D8B030D-6E8A-4147-A177-3AD203B41FA5}">
                      <a16:colId xmlns:a16="http://schemas.microsoft.com/office/drawing/2014/main" val="20001"/>
                    </a:ext>
                  </a:extLst>
                </a:gridCol>
                <a:gridCol w="3081655">
                  <a:extLst>
                    <a:ext uri="{9D8B030D-6E8A-4147-A177-3AD203B41FA5}">
                      <a16:colId xmlns:a16="http://schemas.microsoft.com/office/drawing/2014/main" val="20002"/>
                    </a:ext>
                  </a:extLst>
                </a:gridCol>
              </a:tblGrid>
              <a:tr h="728345">
                <a:tc>
                  <a:txBody>
                    <a:bodyPr/>
                    <a:lstStyle/>
                    <a:p>
                      <a:pPr algn="ctr">
                        <a:buNone/>
                      </a:pPr>
                      <a:r>
                        <a:rPr lang="zh-CN" altLang="en-US"/>
                        <a:t>Methods</a:t>
                      </a:r>
                    </a:p>
                  </a:txBody>
                  <a:tcPr anchor="ctr"/>
                </a:tc>
                <a:tc>
                  <a:txBody>
                    <a:bodyPr/>
                    <a:lstStyle/>
                    <a:p>
                      <a:pPr algn="ctr">
                        <a:buNone/>
                      </a:pPr>
                      <a:r>
                        <a:rPr lang="zh-CN" altLang="en-US"/>
                        <a:t>Public score</a:t>
                      </a:r>
                    </a:p>
                  </a:txBody>
                  <a:tcPr anchor="ctr"/>
                </a:tc>
                <a:tc>
                  <a:txBody>
                    <a:bodyPr/>
                    <a:lstStyle/>
                    <a:p>
                      <a:pPr algn="ctr">
                        <a:buNone/>
                      </a:pPr>
                      <a:r>
                        <a:rPr lang="zh-CN" altLang="en-US"/>
                        <a:t>Private score</a:t>
                      </a:r>
                    </a:p>
                  </a:txBody>
                  <a:tcPr anchor="ctr"/>
                </a:tc>
                <a:extLst>
                  <a:ext uri="{0D108BD9-81ED-4DB2-BD59-A6C34878D82A}">
                    <a16:rowId xmlns:a16="http://schemas.microsoft.com/office/drawing/2014/main" val="10000"/>
                  </a:ext>
                </a:extLst>
              </a:tr>
              <a:tr h="645795">
                <a:tc>
                  <a:txBody>
                    <a:bodyPr/>
                    <a:lstStyle/>
                    <a:p>
                      <a:pPr algn="ctr">
                        <a:buNone/>
                      </a:pPr>
                      <a:r>
                        <a:rPr lang="zh-CN" altLang="en-US" dirty="0"/>
                        <a:t>LGBM model </a:t>
                      </a:r>
                      <a:r>
                        <a:rPr lang="en-US" altLang="zh-CN" dirty="0"/>
                        <a:t>(</a:t>
                      </a:r>
                      <a:r>
                        <a:rPr lang="zh-CN" altLang="en-US" dirty="0"/>
                        <a:t>from accuracy to uncertainty</a:t>
                      </a:r>
                      <a:r>
                        <a:rPr lang="en-US" altLang="zh-CN" dirty="0"/>
                        <a:t>)</a:t>
                      </a:r>
                      <a:endParaRPr lang="zh-CN" altLang="en-US" dirty="0"/>
                    </a:p>
                  </a:txBody>
                  <a:tcPr anchor="ctr"/>
                </a:tc>
                <a:tc>
                  <a:txBody>
                    <a:bodyPr/>
                    <a:lstStyle/>
                    <a:p>
                      <a:pPr algn="ctr">
                        <a:buNone/>
                      </a:pPr>
                      <a:r>
                        <a:rPr lang="zh-CN" altLang="en-US" dirty="0"/>
                        <a:t> </a:t>
                      </a:r>
                      <a:r>
                        <a:rPr lang="en-US" altLang="zh-CN" sz="1800" b="0" i="0" kern="1200" dirty="0">
                          <a:solidFill>
                            <a:schemeClr val="dk1"/>
                          </a:solidFill>
                          <a:effectLst/>
                          <a:latin typeface="+mn-lt"/>
                          <a:ea typeface="+mn-ea"/>
                          <a:cs typeface="+mn-cs"/>
                        </a:rPr>
                        <a:t>0.05561</a:t>
                      </a:r>
                      <a:endParaRPr lang="zh-CN" altLang="en-US" dirty="0"/>
                    </a:p>
                  </a:txBody>
                  <a:tcPr anchor="ctr"/>
                </a:tc>
                <a:tc>
                  <a:txBody>
                    <a:bodyPr/>
                    <a:lstStyle/>
                    <a:p>
                      <a:pPr algn="ctr">
                        <a:buNone/>
                      </a:pPr>
                      <a:r>
                        <a:rPr lang="zh-CN" altLang="en-US" dirty="0"/>
                        <a:t> </a:t>
                      </a:r>
                      <a:r>
                        <a:rPr lang="en-US" altLang="zh-CN" sz="1800" b="0" i="0" kern="1200" dirty="0">
                          <a:solidFill>
                            <a:schemeClr val="dk1"/>
                          </a:solidFill>
                          <a:effectLst/>
                          <a:latin typeface="+mn-lt"/>
                          <a:ea typeface="+mn-ea"/>
                          <a:cs typeface="+mn-cs"/>
                        </a:rPr>
                        <a:t>0.30780</a:t>
                      </a:r>
                      <a:endParaRPr lang="zh-CN" altLang="en-US" dirty="0"/>
                    </a:p>
                  </a:txBody>
                  <a:tcPr anchor="ctr"/>
                </a:tc>
                <a:extLst>
                  <a:ext uri="{0D108BD9-81ED-4DB2-BD59-A6C34878D82A}">
                    <a16:rowId xmlns:a16="http://schemas.microsoft.com/office/drawing/2014/main" val="10001"/>
                  </a:ext>
                </a:extLst>
              </a:tr>
              <a:tr h="645160">
                <a:tc>
                  <a:txBody>
                    <a:bodyPr/>
                    <a:lstStyle/>
                    <a:p>
                      <a:pPr algn="ctr">
                        <a:buNone/>
                      </a:pPr>
                      <a:r>
                        <a:rPr lang="zh-CN" altLang="en-US" dirty="0"/>
                        <a:t>LSTM with Quantile Regression</a:t>
                      </a:r>
                    </a:p>
                  </a:txBody>
                  <a:tcPr anchor="ctr"/>
                </a:tc>
                <a:tc>
                  <a:txBody>
                    <a:bodyPr/>
                    <a:lstStyle/>
                    <a:p>
                      <a:pPr algn="ctr">
                        <a:buNone/>
                      </a:pPr>
                      <a:r>
                        <a:rPr lang="zh-CN" altLang="en-US"/>
                        <a:t>0.51769</a:t>
                      </a:r>
                    </a:p>
                  </a:txBody>
                  <a:tcPr anchor="ctr"/>
                </a:tc>
                <a:tc>
                  <a:txBody>
                    <a:bodyPr/>
                    <a:lstStyle/>
                    <a:p>
                      <a:pPr algn="ctr">
                        <a:buNone/>
                      </a:pPr>
                      <a:r>
                        <a:rPr lang="zh-CN" altLang="en-US" dirty="0"/>
                        <a:t> 0.49638</a:t>
                      </a:r>
                      <a:endParaRPr lang="en-US" altLang="zh-CN" dirty="0"/>
                    </a:p>
                  </a:txBody>
                  <a:tcPr anchor="ctr"/>
                </a:tc>
                <a:extLst>
                  <a:ext uri="{0D108BD9-81ED-4DB2-BD59-A6C34878D82A}">
                    <a16:rowId xmlns:a16="http://schemas.microsoft.com/office/drawing/2014/main" val="10003"/>
                  </a:ext>
                </a:extLst>
              </a:tr>
              <a:tr h="645160">
                <a:tc>
                  <a:txBody>
                    <a:bodyPr/>
                    <a:lstStyle/>
                    <a:p>
                      <a:pPr algn="ctr">
                        <a:buNone/>
                      </a:pPr>
                      <a:r>
                        <a:rPr lang="zh-CN" altLang="en-US" dirty="0"/>
                        <a:t>NNs with Quantile Regression</a:t>
                      </a:r>
                    </a:p>
                  </a:txBody>
                  <a:tcPr anchor="ctr"/>
                </a:tc>
                <a:tc>
                  <a:txBody>
                    <a:bodyPr/>
                    <a:lstStyle/>
                    <a:p>
                      <a:pPr algn="ctr">
                        <a:buNone/>
                      </a:pPr>
                      <a:r>
                        <a:rPr lang="zh-CN" altLang="en-US" dirty="0"/>
                        <a:t>0.11617</a:t>
                      </a:r>
                    </a:p>
                  </a:txBody>
                  <a:tcPr anchor="ctr"/>
                </a:tc>
                <a:tc>
                  <a:txBody>
                    <a:bodyPr/>
                    <a:lstStyle/>
                    <a:p>
                      <a:pPr algn="ctr">
                        <a:buNone/>
                      </a:pPr>
                      <a:r>
                        <a:rPr lang="zh-CN" altLang="en-US" dirty="0"/>
                        <a:t> 0.20020</a:t>
                      </a:r>
                    </a:p>
                  </a:txBody>
                  <a:tcPr anchor="ctr"/>
                </a:tc>
                <a:extLst>
                  <a:ext uri="{0D108BD9-81ED-4DB2-BD59-A6C34878D82A}">
                    <a16:rowId xmlns:a16="http://schemas.microsoft.com/office/drawing/2014/main" val="1264884777"/>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Introduction</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About</a:t>
            </a:r>
          </a:p>
          <a:p>
            <a:pPr lvl="0">
              <a:lnSpc>
                <a:spcPct val="100000"/>
              </a:lnSpc>
            </a:pPr>
            <a:r>
              <a:rPr lang="en-US" altLang="zh-CN" dirty="0"/>
              <a:t>M5</a:t>
            </a:r>
            <a:r>
              <a:rPr lang="zh-CN" altLang="en-US" dirty="0"/>
              <a:t> </a:t>
            </a:r>
            <a:r>
              <a:rPr lang="en-US" altLang="zh-CN" dirty="0"/>
              <a:t>Forecasting</a:t>
            </a:r>
            <a:r>
              <a:rPr lang="zh-CN" altLang="en-US" dirty="0"/>
              <a:t>：</a:t>
            </a:r>
            <a:r>
              <a:rPr lang="en-US" altLang="zh-CN" dirty="0"/>
              <a:t>Accuracy &amp; Uncertainty</a:t>
            </a:r>
            <a:endParaRPr lang="zh-CN" altLang="en-US" dirty="0"/>
          </a:p>
        </p:txBody>
      </p:sp>
      <p:sp>
        <p:nvSpPr>
          <p:cNvPr id="9" name="文本框 8"/>
          <p:cNvSpPr txBox="1"/>
          <p:nvPr/>
        </p:nvSpPr>
        <p:spPr>
          <a:xfrm>
            <a:off x="3543251" y="272849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esult Analysis</a:t>
            </a:r>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20</a:t>
            </a:fld>
            <a:endParaRPr lang="zh-CN" altLang="en-US"/>
          </a:p>
        </p:txBody>
      </p:sp>
      <p:grpSp>
        <p:nvGrpSpPr>
          <p:cNvPr id="5" name="2e96e51e-8745-4ea6-944e-cbefeb4d833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1179918"/>
            <a:ext cx="12192000" cy="5324070"/>
            <a:chOff x="0" y="1122768"/>
            <a:chExt cx="12192000" cy="5324070"/>
          </a:xfrm>
        </p:grpSpPr>
        <p:sp>
          <p:nvSpPr>
            <p:cNvPr id="6" name="íŝļîḑé"/>
            <p:cNvSpPr/>
            <p:nvPr/>
          </p:nvSpPr>
          <p:spPr>
            <a:xfrm>
              <a:off x="0" y="4018598"/>
              <a:ext cx="12192000" cy="2428240"/>
            </a:xfrm>
            <a:prstGeom prst="roundRect">
              <a:avLst>
                <a:gd name="adj" fmla="val 0"/>
              </a:avLst>
            </a:prstGeom>
            <a:blipFill>
              <a:blip r:embed="rId3"/>
              <a:stretch>
                <a:fillRect t="-121840" b="-120542"/>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p>
          </p:txBody>
        </p:sp>
        <p:grpSp>
          <p:nvGrpSpPr>
            <p:cNvPr id="7" name="îṩľiḋê"/>
            <p:cNvGrpSpPr/>
            <p:nvPr/>
          </p:nvGrpSpPr>
          <p:grpSpPr>
            <a:xfrm>
              <a:off x="672465" y="4019201"/>
              <a:ext cx="3437255" cy="1428115"/>
              <a:chOff x="729168" y="4019201"/>
              <a:chExt cx="3437255" cy="1428115"/>
            </a:xfrm>
          </p:grpSpPr>
          <p:sp>
            <p:nvSpPr>
              <p:cNvPr id="25" name="î$ľidé"/>
              <p:cNvSpPr/>
              <p:nvPr/>
            </p:nvSpPr>
            <p:spPr>
              <a:xfrm>
                <a:off x="729168" y="4019201"/>
                <a:ext cx="3437255" cy="142811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lang="en-US" sz="2000" b="1" dirty="0"/>
                  <a:t>from accuracy to uncertainty</a:t>
                </a:r>
              </a:p>
            </p:txBody>
          </p:sp>
          <p:sp>
            <p:nvSpPr>
              <p:cNvPr id="26" name="îṣļíḋé"/>
              <p:cNvSpPr/>
              <p:nvPr/>
            </p:nvSpPr>
            <p:spPr>
              <a:xfrm>
                <a:off x="2088159" y="4177655"/>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grpSp>
          <p:nvGrpSpPr>
            <p:cNvPr id="8" name="išļïde"/>
            <p:cNvGrpSpPr/>
            <p:nvPr/>
          </p:nvGrpSpPr>
          <p:grpSpPr>
            <a:xfrm>
              <a:off x="4377467" y="4019201"/>
              <a:ext cx="3437255" cy="1428115"/>
              <a:chOff x="4382800" y="4019201"/>
              <a:chExt cx="3437255" cy="1428115"/>
            </a:xfrm>
          </p:grpSpPr>
          <p:sp>
            <p:nvSpPr>
              <p:cNvPr id="23" name="í$ľïḓe"/>
              <p:cNvSpPr/>
              <p:nvPr/>
            </p:nvSpPr>
            <p:spPr>
              <a:xfrm>
                <a:off x="4382800" y="4019201"/>
                <a:ext cx="3437255" cy="1428115"/>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lang="en-US" altLang="zh-CN" sz="2000" b="1" dirty="0"/>
                  <a:t>LSTM with Quantile Regression</a:t>
                </a:r>
              </a:p>
            </p:txBody>
          </p:sp>
          <p:sp>
            <p:nvSpPr>
              <p:cNvPr id="24" name="îṩľíḑe"/>
              <p:cNvSpPr/>
              <p:nvPr/>
            </p:nvSpPr>
            <p:spPr>
              <a:xfrm>
                <a:off x="5741156" y="4177655"/>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grpSp>
          <p:nvGrpSpPr>
            <p:cNvPr id="9" name="ïşḻiďe"/>
            <p:cNvGrpSpPr/>
            <p:nvPr/>
          </p:nvGrpSpPr>
          <p:grpSpPr>
            <a:xfrm>
              <a:off x="8081834" y="4019201"/>
              <a:ext cx="3437255" cy="1428115"/>
              <a:chOff x="8035797" y="4019201"/>
              <a:chExt cx="3437255" cy="1428115"/>
            </a:xfrm>
          </p:grpSpPr>
          <p:sp>
            <p:nvSpPr>
              <p:cNvPr id="21" name="ïṣḷiḑê"/>
              <p:cNvSpPr/>
              <p:nvPr/>
            </p:nvSpPr>
            <p:spPr>
              <a:xfrm>
                <a:off x="8035797" y="4019201"/>
                <a:ext cx="3437255" cy="142811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lang="en-US" altLang="zh-CN" sz="2000" b="1" dirty="0"/>
                  <a:t>NNs with Quantile Regression</a:t>
                </a:r>
              </a:p>
            </p:txBody>
          </p:sp>
          <p:sp>
            <p:nvSpPr>
              <p:cNvPr id="22" name="íşľiḋé"/>
              <p:cNvSpPr/>
              <p:nvPr/>
            </p:nvSpPr>
            <p:spPr>
              <a:xfrm>
                <a:off x="9394153" y="4177655"/>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sp>
          <p:nvSpPr>
            <p:cNvPr id="19" name="í$ľiďè"/>
            <p:cNvSpPr/>
            <p:nvPr/>
          </p:nvSpPr>
          <p:spPr bwMode="auto">
            <a:xfrm>
              <a:off x="849454" y="1490720"/>
              <a:ext cx="3084361" cy="1778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solidFill>
                    <a:schemeClr val="tx1">
                      <a:lumMod val="95000"/>
                      <a:lumOff val="5000"/>
                    </a:schemeClr>
                  </a:solidFill>
                </a:rPr>
                <a:t>Since in the accuracy competition, we got good grades by performing LGBM to do the estimation, the uncertainty estimation from accuracy got not bad results too. </a:t>
              </a:r>
            </a:p>
            <a:p>
              <a:pPr>
                <a:lnSpc>
                  <a:spcPct val="150000"/>
                </a:lnSpc>
                <a:spcBef>
                  <a:spcPct val="0"/>
                </a:spcBef>
              </a:pPr>
              <a:r>
                <a:rPr lang="en-US" altLang="zh-CN" sz="1000" dirty="0">
                  <a:solidFill>
                    <a:schemeClr val="tx1">
                      <a:lumMod val="95000"/>
                      <a:lumOff val="5000"/>
                    </a:schemeClr>
                  </a:solidFill>
                </a:rPr>
                <a:t>However, we can not know the actual variance of the distribution. This kind of method can be a little tricky, since we test different parameters to get the best performance.</a:t>
              </a:r>
            </a:p>
          </p:txBody>
        </p:sp>
        <p:sp>
          <p:nvSpPr>
            <p:cNvPr id="17" name="iṡḻîde"/>
            <p:cNvSpPr/>
            <p:nvPr/>
          </p:nvSpPr>
          <p:spPr bwMode="auto">
            <a:xfrm>
              <a:off x="8262707" y="1627921"/>
              <a:ext cx="2908884" cy="150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solidFill>
                    <a:schemeClr val="tx1">
                      <a:lumMod val="95000"/>
                      <a:lumOff val="5000"/>
                    </a:schemeClr>
                  </a:solidFill>
                </a:rPr>
                <a:t>The neural network is fed with a large amount of data with multiple features and time series characteristics. Besides, we added dropout layers in the network structure to avoid over fitting. It effectively predict the future sales after iterative training. And it shows the best results among all of the methods.</a:t>
              </a:r>
            </a:p>
            <a:p>
              <a:pPr>
                <a:lnSpc>
                  <a:spcPct val="150000"/>
                </a:lnSpc>
                <a:spcBef>
                  <a:spcPct val="0"/>
                </a:spcBef>
              </a:pPr>
              <a:endParaRPr lang="en-US" altLang="zh-CN" sz="1000" dirty="0">
                <a:solidFill>
                  <a:schemeClr val="tx1">
                    <a:lumMod val="95000"/>
                    <a:lumOff val="5000"/>
                  </a:schemeClr>
                </a:solidFill>
              </a:endParaRPr>
            </a:p>
          </p:txBody>
        </p:sp>
        <p:sp>
          <p:nvSpPr>
            <p:cNvPr id="15" name="ïṡ1îdè"/>
            <p:cNvSpPr/>
            <p:nvPr/>
          </p:nvSpPr>
          <p:spPr bwMode="auto">
            <a:xfrm>
              <a:off x="4444198" y="1122768"/>
              <a:ext cx="3437255" cy="287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solidFill>
                    <a:schemeClr val="tx1">
                      <a:lumMod val="95000"/>
                      <a:lumOff val="5000"/>
                    </a:schemeClr>
                  </a:solidFill>
                </a:rPr>
                <a:t>The model shows the worst result, some reasons as followed: </a:t>
              </a:r>
            </a:p>
            <a:p>
              <a:pPr>
                <a:lnSpc>
                  <a:spcPct val="150000"/>
                </a:lnSpc>
                <a:spcBef>
                  <a:spcPct val="0"/>
                </a:spcBef>
              </a:pPr>
              <a:r>
                <a:rPr lang="en-US" altLang="zh-CN" sz="1000" dirty="0">
                  <a:solidFill>
                    <a:schemeClr val="tx1">
                      <a:lumMod val="95000"/>
                      <a:lumOff val="5000"/>
                    </a:schemeClr>
                  </a:solidFill>
                </a:rPr>
                <a:t>1. The loss of periodic feature. Since the input of the model is the sales of 14 consecutive days, which the sales in 15th day estimated is based on. However, although we had taken the calendar related features into account, but it still loses some periodic characteristics.</a:t>
              </a:r>
            </a:p>
            <a:p>
              <a:pPr>
                <a:lnSpc>
                  <a:spcPct val="150000"/>
                </a:lnSpc>
                <a:spcBef>
                  <a:spcPct val="0"/>
                </a:spcBef>
              </a:pPr>
              <a:r>
                <a:rPr lang="en-US" altLang="zh-CN" sz="1000" dirty="0">
                  <a:solidFill>
                    <a:schemeClr val="tx1">
                      <a:lumMod val="95000"/>
                      <a:lumOff val="5000"/>
                    </a:schemeClr>
                  </a:solidFill>
                </a:rPr>
                <a:t>2. Using our prediction sales to do the further predicting, which means the error could be accumulated.</a:t>
              </a:r>
            </a:p>
            <a:p>
              <a:pPr>
                <a:lnSpc>
                  <a:spcPct val="150000"/>
                </a:lnSpc>
                <a:spcBef>
                  <a:spcPct val="0"/>
                </a:spcBef>
              </a:pPr>
              <a:r>
                <a:rPr lang="en-US" altLang="zh-CN" sz="1000" dirty="0">
                  <a:solidFill>
                    <a:schemeClr val="tx1">
                      <a:lumMod val="95000"/>
                      <a:lumOff val="5000"/>
                    </a:schemeClr>
                  </a:solidFill>
                </a:rPr>
                <a:t>3. Model construction problem. It seems some more adjustment of the structure and parameters should be applied to avoid over-fitting problems.</a:t>
              </a:r>
            </a:p>
          </p:txBody>
        </p:sp>
        <p:cxnSp>
          <p:nvCxnSpPr>
            <p:cNvPr id="13" name="直接连接符 12"/>
            <p:cNvCxnSpPr/>
            <p:nvPr/>
          </p:nvCxnSpPr>
          <p:spPr>
            <a:xfrm>
              <a:off x="4243817" y="1125538"/>
              <a:ext cx="0" cy="5018087"/>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7948184" y="1125538"/>
              <a:ext cx="0" cy="5018087"/>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1e1e30c9-44e8-4808-b45e-c1de80d9257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86000" y="1426262"/>
            <a:ext cx="10119521" cy="5467738"/>
            <a:chOff x="995185" y="1123950"/>
            <a:chExt cx="10932084" cy="6190024"/>
          </a:xfrm>
        </p:grpSpPr>
        <p:grpSp>
          <p:nvGrpSpPr>
            <p:cNvPr id="6" name="işḷïdé"/>
            <p:cNvGrpSpPr/>
            <p:nvPr/>
          </p:nvGrpSpPr>
          <p:grpSpPr>
            <a:xfrm>
              <a:off x="995185" y="1169617"/>
              <a:ext cx="5324346" cy="6144357"/>
              <a:chOff x="3433827" y="749643"/>
              <a:chExt cx="5324346" cy="6144357"/>
            </a:xfrm>
          </p:grpSpPr>
          <p:sp>
            <p:nvSpPr>
              <p:cNvPr id="22" name="îšliḋê"/>
              <p:cNvSpPr/>
              <p:nvPr/>
            </p:nvSpPr>
            <p:spPr bwMode="auto">
              <a:xfrm>
                <a:off x="7458032" y="24810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a:noFill/>
              </a:ln>
            </p:spPr>
            <p:txBody>
              <a:bodyPr anchor="ctr"/>
              <a:lstStyle/>
              <a:p>
                <a:pPr algn="ctr"/>
                <a:endParaRPr/>
              </a:p>
            </p:txBody>
          </p:sp>
          <p:sp>
            <p:nvSpPr>
              <p:cNvPr id="23" name="iśľíḍê"/>
              <p:cNvSpPr/>
              <p:nvPr/>
            </p:nvSpPr>
            <p:spPr bwMode="auto">
              <a:xfrm>
                <a:off x="3433827" y="3040331"/>
                <a:ext cx="845065" cy="688582"/>
              </a:xfrm>
              <a:custGeom>
                <a:avLst/>
                <a:gdLst>
                  <a:gd name="T0" fmla="*/ 280 w 280"/>
                  <a:gd name="T1" fmla="*/ 27 h 228"/>
                  <a:gd name="T2" fmla="*/ 247 w 280"/>
                  <a:gd name="T3" fmla="*/ 36 h 228"/>
                  <a:gd name="T4" fmla="*/ 272 w 280"/>
                  <a:gd name="T5" fmla="*/ 5 h 228"/>
                  <a:gd name="T6" fmla="*/ 236 w 280"/>
                  <a:gd name="T7" fmla="*/ 19 h 228"/>
                  <a:gd name="T8" fmla="*/ 194 w 280"/>
                  <a:gd name="T9" fmla="*/ 0 h 228"/>
                  <a:gd name="T10" fmla="*/ 136 w 280"/>
                  <a:gd name="T11" fmla="*/ 58 h 228"/>
                  <a:gd name="T12" fmla="*/ 138 w 280"/>
                  <a:gd name="T13" fmla="*/ 71 h 228"/>
                  <a:gd name="T14" fmla="*/ 19 w 280"/>
                  <a:gd name="T15" fmla="*/ 11 h 228"/>
                  <a:gd name="T16" fmla="*/ 12 w 280"/>
                  <a:gd name="T17" fmla="*/ 40 h 228"/>
                  <a:gd name="T18" fmla="*/ 37 w 280"/>
                  <a:gd name="T19" fmla="*/ 88 h 228"/>
                  <a:gd name="T20" fmla="*/ 11 w 280"/>
                  <a:gd name="T21" fmla="*/ 80 h 228"/>
                  <a:gd name="T22" fmla="*/ 11 w 280"/>
                  <a:gd name="T23" fmla="*/ 81 h 228"/>
                  <a:gd name="T24" fmla="*/ 57 w 280"/>
                  <a:gd name="T25" fmla="*/ 138 h 228"/>
                  <a:gd name="T26" fmla="*/ 42 w 280"/>
                  <a:gd name="T27" fmla="*/ 140 h 228"/>
                  <a:gd name="T28" fmla="*/ 31 w 280"/>
                  <a:gd name="T29" fmla="*/ 139 h 228"/>
                  <a:gd name="T30" fmla="*/ 85 w 280"/>
                  <a:gd name="T31" fmla="*/ 178 h 228"/>
                  <a:gd name="T32" fmla="*/ 14 w 280"/>
                  <a:gd name="T33" fmla="*/ 203 h 228"/>
                  <a:gd name="T34" fmla="*/ 0 w 280"/>
                  <a:gd name="T35" fmla="*/ 202 h 228"/>
                  <a:gd name="T36" fmla="*/ 88 w 280"/>
                  <a:gd name="T37" fmla="*/ 228 h 228"/>
                  <a:gd name="T38" fmla="*/ 251 w 280"/>
                  <a:gd name="T39" fmla="*/ 65 h 228"/>
                  <a:gd name="T40" fmla="*/ 251 w 280"/>
                  <a:gd name="T41" fmla="*/ 57 h 228"/>
                  <a:gd name="T42" fmla="*/ 280 w 280"/>
                  <a:gd name="T43"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28">
                    <a:moveTo>
                      <a:pt x="280" y="27"/>
                    </a:moveTo>
                    <a:cubicBezTo>
                      <a:pt x="270" y="32"/>
                      <a:pt x="259" y="35"/>
                      <a:pt x="247" y="36"/>
                    </a:cubicBezTo>
                    <a:cubicBezTo>
                      <a:pt x="259" y="29"/>
                      <a:pt x="268" y="18"/>
                      <a:pt x="272" y="5"/>
                    </a:cubicBezTo>
                    <a:cubicBezTo>
                      <a:pt x="261" y="11"/>
                      <a:pt x="249" y="16"/>
                      <a:pt x="236" y="19"/>
                    </a:cubicBezTo>
                    <a:cubicBezTo>
                      <a:pt x="225" y="7"/>
                      <a:pt x="210" y="0"/>
                      <a:pt x="194" y="0"/>
                    </a:cubicBezTo>
                    <a:cubicBezTo>
                      <a:pt x="162" y="0"/>
                      <a:pt x="136" y="26"/>
                      <a:pt x="136" y="58"/>
                    </a:cubicBezTo>
                    <a:cubicBezTo>
                      <a:pt x="136" y="62"/>
                      <a:pt x="137" y="67"/>
                      <a:pt x="138" y="71"/>
                    </a:cubicBezTo>
                    <a:cubicBezTo>
                      <a:pt x="90" y="69"/>
                      <a:pt x="48" y="46"/>
                      <a:pt x="19" y="11"/>
                    </a:cubicBezTo>
                    <a:cubicBezTo>
                      <a:pt x="14" y="19"/>
                      <a:pt x="12" y="29"/>
                      <a:pt x="12" y="40"/>
                    </a:cubicBezTo>
                    <a:cubicBezTo>
                      <a:pt x="12" y="60"/>
                      <a:pt x="22" y="77"/>
                      <a:pt x="37" y="88"/>
                    </a:cubicBezTo>
                    <a:cubicBezTo>
                      <a:pt x="28" y="87"/>
                      <a:pt x="19" y="85"/>
                      <a:pt x="11" y="80"/>
                    </a:cubicBezTo>
                    <a:cubicBezTo>
                      <a:pt x="11" y="81"/>
                      <a:pt x="11" y="81"/>
                      <a:pt x="11" y="81"/>
                    </a:cubicBezTo>
                    <a:cubicBezTo>
                      <a:pt x="11" y="109"/>
                      <a:pt x="31" y="132"/>
                      <a:pt x="57" y="138"/>
                    </a:cubicBezTo>
                    <a:cubicBezTo>
                      <a:pt x="52" y="139"/>
                      <a:pt x="47" y="140"/>
                      <a:pt x="42" y="140"/>
                    </a:cubicBezTo>
                    <a:cubicBezTo>
                      <a:pt x="38" y="140"/>
                      <a:pt x="35" y="139"/>
                      <a:pt x="31" y="139"/>
                    </a:cubicBezTo>
                    <a:cubicBezTo>
                      <a:pt x="39" y="161"/>
                      <a:pt x="60" y="178"/>
                      <a:pt x="85" y="178"/>
                    </a:cubicBezTo>
                    <a:cubicBezTo>
                      <a:pt x="65" y="194"/>
                      <a:pt x="40" y="203"/>
                      <a:pt x="14" y="203"/>
                    </a:cubicBezTo>
                    <a:cubicBezTo>
                      <a:pt x="9" y="203"/>
                      <a:pt x="4" y="203"/>
                      <a:pt x="0" y="202"/>
                    </a:cubicBezTo>
                    <a:cubicBezTo>
                      <a:pt x="25" y="219"/>
                      <a:pt x="55" y="228"/>
                      <a:pt x="88" y="228"/>
                    </a:cubicBezTo>
                    <a:cubicBezTo>
                      <a:pt x="194" y="228"/>
                      <a:pt x="251" y="140"/>
                      <a:pt x="251" y="65"/>
                    </a:cubicBezTo>
                    <a:cubicBezTo>
                      <a:pt x="251" y="62"/>
                      <a:pt x="251" y="60"/>
                      <a:pt x="251" y="57"/>
                    </a:cubicBezTo>
                    <a:cubicBezTo>
                      <a:pt x="263" y="49"/>
                      <a:pt x="272" y="39"/>
                      <a:pt x="280" y="27"/>
                    </a:cubicBezTo>
                    <a:close/>
                  </a:path>
                </a:pathLst>
              </a:custGeom>
              <a:solidFill>
                <a:schemeClr val="bg2"/>
              </a:solidFill>
              <a:ln>
                <a:noFill/>
              </a:ln>
            </p:spPr>
            <p:txBody>
              <a:bodyPr anchor="ctr"/>
              <a:lstStyle/>
              <a:p>
                <a:pPr algn="ctr"/>
                <a:endParaRPr/>
              </a:p>
            </p:txBody>
          </p:sp>
          <p:sp>
            <p:nvSpPr>
              <p:cNvPr id="24" name="iṧ1iḓé"/>
              <p:cNvSpPr/>
              <p:nvPr/>
            </p:nvSpPr>
            <p:spPr bwMode="auto">
              <a:xfrm>
                <a:off x="4792193" y="2863228"/>
                <a:ext cx="2345637" cy="4030772"/>
              </a:xfrm>
              <a:custGeom>
                <a:avLst/>
                <a:gdLst>
                  <a:gd name="T0" fmla="*/ 470 w 588"/>
                  <a:gd name="T1" fmla="*/ 274 h 1010"/>
                  <a:gd name="T2" fmla="*/ 543 w 588"/>
                  <a:gd name="T3" fmla="*/ 164 h 1010"/>
                  <a:gd name="T4" fmla="*/ 588 w 588"/>
                  <a:gd name="T5" fmla="*/ 13 h 1010"/>
                  <a:gd name="T6" fmla="*/ 580 w 588"/>
                  <a:gd name="T7" fmla="*/ 9 h 1010"/>
                  <a:gd name="T8" fmla="*/ 531 w 588"/>
                  <a:gd name="T9" fmla="*/ 143 h 1010"/>
                  <a:gd name="T10" fmla="*/ 456 w 588"/>
                  <a:gd name="T11" fmla="*/ 237 h 1010"/>
                  <a:gd name="T12" fmla="*/ 454 w 588"/>
                  <a:gd name="T13" fmla="*/ 238 h 1010"/>
                  <a:gd name="T14" fmla="*/ 310 w 588"/>
                  <a:gd name="T15" fmla="*/ 0 h 1010"/>
                  <a:gd name="T16" fmla="*/ 272 w 588"/>
                  <a:gd name="T17" fmla="*/ 25 h 1010"/>
                  <a:gd name="T18" fmla="*/ 401 w 588"/>
                  <a:gd name="T19" fmla="*/ 434 h 1010"/>
                  <a:gd name="T20" fmla="*/ 234 w 588"/>
                  <a:gd name="T21" fmla="*/ 365 h 1010"/>
                  <a:gd name="T22" fmla="*/ 106 w 588"/>
                  <a:gd name="T23" fmla="*/ 257 h 1010"/>
                  <a:gd name="T24" fmla="*/ 12 w 588"/>
                  <a:gd name="T25" fmla="*/ 95 h 1010"/>
                  <a:gd name="T26" fmla="*/ 0 w 588"/>
                  <a:gd name="T27" fmla="*/ 101 h 1010"/>
                  <a:gd name="T28" fmla="*/ 90 w 588"/>
                  <a:gd name="T29" fmla="*/ 284 h 1010"/>
                  <a:gd name="T30" fmla="*/ 218 w 588"/>
                  <a:gd name="T31" fmla="*/ 413 h 1010"/>
                  <a:gd name="T32" fmla="*/ 406 w 588"/>
                  <a:gd name="T33" fmla="*/ 511 h 1010"/>
                  <a:gd name="T34" fmla="*/ 331 w 588"/>
                  <a:gd name="T35" fmla="*/ 1010 h 1010"/>
                  <a:gd name="T36" fmla="*/ 557 w 588"/>
                  <a:gd name="T37" fmla="*/ 1010 h 1010"/>
                  <a:gd name="T38" fmla="*/ 546 w 588"/>
                  <a:gd name="T39" fmla="*/ 509 h 1010"/>
                  <a:gd name="T40" fmla="*/ 470 w 588"/>
                  <a:gd name="T41" fmla="*/ 27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8" h="1010">
                    <a:moveTo>
                      <a:pt x="470" y="274"/>
                    </a:moveTo>
                    <a:cubicBezTo>
                      <a:pt x="498" y="243"/>
                      <a:pt x="523" y="207"/>
                      <a:pt x="543" y="164"/>
                    </a:cubicBezTo>
                    <a:cubicBezTo>
                      <a:pt x="564" y="120"/>
                      <a:pt x="581" y="71"/>
                      <a:pt x="588" y="13"/>
                    </a:cubicBezTo>
                    <a:cubicBezTo>
                      <a:pt x="580" y="9"/>
                      <a:pt x="580" y="9"/>
                      <a:pt x="580" y="9"/>
                    </a:cubicBezTo>
                    <a:cubicBezTo>
                      <a:pt x="571" y="60"/>
                      <a:pt x="552" y="106"/>
                      <a:pt x="531" y="143"/>
                    </a:cubicBezTo>
                    <a:cubicBezTo>
                      <a:pt x="509" y="181"/>
                      <a:pt x="483" y="212"/>
                      <a:pt x="456" y="237"/>
                    </a:cubicBezTo>
                    <a:cubicBezTo>
                      <a:pt x="455" y="238"/>
                      <a:pt x="455" y="238"/>
                      <a:pt x="454" y="238"/>
                    </a:cubicBezTo>
                    <a:cubicBezTo>
                      <a:pt x="415" y="153"/>
                      <a:pt x="366" y="73"/>
                      <a:pt x="310" y="0"/>
                    </a:cubicBezTo>
                    <a:cubicBezTo>
                      <a:pt x="272" y="25"/>
                      <a:pt x="272" y="25"/>
                      <a:pt x="272" y="25"/>
                    </a:cubicBezTo>
                    <a:cubicBezTo>
                      <a:pt x="346" y="158"/>
                      <a:pt x="386" y="295"/>
                      <a:pt x="401" y="434"/>
                    </a:cubicBezTo>
                    <a:cubicBezTo>
                      <a:pt x="344" y="419"/>
                      <a:pt x="287" y="397"/>
                      <a:pt x="234" y="365"/>
                    </a:cubicBezTo>
                    <a:cubicBezTo>
                      <a:pt x="188" y="337"/>
                      <a:pt x="145" y="301"/>
                      <a:pt x="106" y="257"/>
                    </a:cubicBezTo>
                    <a:cubicBezTo>
                      <a:pt x="68" y="212"/>
                      <a:pt x="32" y="157"/>
                      <a:pt x="12" y="95"/>
                    </a:cubicBezTo>
                    <a:cubicBezTo>
                      <a:pt x="0" y="101"/>
                      <a:pt x="0" y="101"/>
                      <a:pt x="0" y="101"/>
                    </a:cubicBezTo>
                    <a:cubicBezTo>
                      <a:pt x="18" y="172"/>
                      <a:pt x="52" y="232"/>
                      <a:pt x="90" y="284"/>
                    </a:cubicBezTo>
                    <a:cubicBezTo>
                      <a:pt x="128" y="335"/>
                      <a:pt x="172" y="378"/>
                      <a:pt x="218" y="413"/>
                    </a:cubicBezTo>
                    <a:cubicBezTo>
                      <a:pt x="278" y="457"/>
                      <a:pt x="341" y="489"/>
                      <a:pt x="406" y="511"/>
                    </a:cubicBezTo>
                    <a:cubicBezTo>
                      <a:pt x="412" y="679"/>
                      <a:pt x="383" y="847"/>
                      <a:pt x="331" y="1010"/>
                    </a:cubicBezTo>
                    <a:cubicBezTo>
                      <a:pt x="557" y="1010"/>
                      <a:pt x="557" y="1010"/>
                      <a:pt x="557" y="1010"/>
                    </a:cubicBezTo>
                    <a:cubicBezTo>
                      <a:pt x="583" y="820"/>
                      <a:pt x="587" y="695"/>
                      <a:pt x="546" y="509"/>
                    </a:cubicBezTo>
                    <a:cubicBezTo>
                      <a:pt x="528" y="428"/>
                      <a:pt x="503" y="349"/>
                      <a:pt x="470" y="274"/>
                    </a:cubicBezTo>
                    <a:close/>
                  </a:path>
                </a:pathLst>
              </a:custGeom>
              <a:solidFill>
                <a:schemeClr val="accent1"/>
              </a:solidFill>
              <a:ln>
                <a:noFill/>
              </a:ln>
            </p:spPr>
            <p:txBody>
              <a:bodyPr anchor="ctr"/>
              <a:lstStyle/>
              <a:p>
                <a:pPr algn="ctr"/>
                <a:endParaRPr/>
              </a:p>
            </p:txBody>
          </p:sp>
          <p:sp>
            <p:nvSpPr>
              <p:cNvPr id="25" name="isḻïḑe"/>
              <p:cNvSpPr/>
              <p:nvPr/>
            </p:nvSpPr>
            <p:spPr bwMode="auto">
              <a:xfrm>
                <a:off x="7213350" y="2277046"/>
                <a:ext cx="456138" cy="454746"/>
              </a:xfrm>
              <a:custGeom>
                <a:avLst/>
                <a:gdLst>
                  <a:gd name="T0" fmla="*/ 106 w 114"/>
                  <a:gd name="T1" fmla="*/ 0 h 114"/>
                  <a:gd name="T2" fmla="*/ 8 w 114"/>
                  <a:gd name="T3" fmla="*/ 0 h 114"/>
                  <a:gd name="T4" fmla="*/ 0 w 114"/>
                  <a:gd name="T5" fmla="*/ 8 h 114"/>
                  <a:gd name="T6" fmla="*/ 0 w 114"/>
                  <a:gd name="T7" fmla="*/ 106 h 114"/>
                  <a:gd name="T8" fmla="*/ 8 w 114"/>
                  <a:gd name="T9" fmla="*/ 114 h 114"/>
                  <a:gd name="T10" fmla="*/ 106 w 114"/>
                  <a:gd name="T11" fmla="*/ 114 h 114"/>
                  <a:gd name="T12" fmla="*/ 114 w 114"/>
                  <a:gd name="T13" fmla="*/ 106 h 114"/>
                  <a:gd name="T14" fmla="*/ 114 w 114"/>
                  <a:gd name="T15" fmla="*/ 8 h 114"/>
                  <a:gd name="T16" fmla="*/ 106 w 114"/>
                  <a:gd name="T17" fmla="*/ 0 h 114"/>
                  <a:gd name="T18" fmla="*/ 35 w 114"/>
                  <a:gd name="T19" fmla="*/ 96 h 114"/>
                  <a:gd name="T20" fmla="*/ 17 w 114"/>
                  <a:gd name="T21" fmla="*/ 96 h 114"/>
                  <a:gd name="T22" fmla="*/ 17 w 114"/>
                  <a:gd name="T23" fmla="*/ 44 h 114"/>
                  <a:gd name="T24" fmla="*/ 35 w 114"/>
                  <a:gd name="T25" fmla="*/ 44 h 114"/>
                  <a:gd name="T26" fmla="*/ 35 w 114"/>
                  <a:gd name="T27" fmla="*/ 96 h 114"/>
                  <a:gd name="T28" fmla="*/ 26 w 114"/>
                  <a:gd name="T29" fmla="*/ 37 h 114"/>
                  <a:gd name="T30" fmla="*/ 26 w 114"/>
                  <a:gd name="T31" fmla="*/ 37 h 114"/>
                  <a:gd name="T32" fmla="*/ 16 w 114"/>
                  <a:gd name="T33" fmla="*/ 28 h 114"/>
                  <a:gd name="T34" fmla="*/ 26 w 114"/>
                  <a:gd name="T35" fmla="*/ 19 h 114"/>
                  <a:gd name="T36" fmla="*/ 36 w 114"/>
                  <a:gd name="T37" fmla="*/ 28 h 114"/>
                  <a:gd name="T38" fmla="*/ 26 w 114"/>
                  <a:gd name="T39" fmla="*/ 37 h 114"/>
                  <a:gd name="T40" fmla="*/ 97 w 114"/>
                  <a:gd name="T41" fmla="*/ 96 h 114"/>
                  <a:gd name="T42" fmla="*/ 80 w 114"/>
                  <a:gd name="T43" fmla="*/ 96 h 114"/>
                  <a:gd name="T44" fmla="*/ 80 w 114"/>
                  <a:gd name="T45" fmla="*/ 68 h 114"/>
                  <a:gd name="T46" fmla="*/ 71 w 114"/>
                  <a:gd name="T47" fmla="*/ 56 h 114"/>
                  <a:gd name="T48" fmla="*/ 62 w 114"/>
                  <a:gd name="T49" fmla="*/ 63 h 114"/>
                  <a:gd name="T50" fmla="*/ 61 w 114"/>
                  <a:gd name="T51" fmla="*/ 67 h 114"/>
                  <a:gd name="T52" fmla="*/ 61 w 114"/>
                  <a:gd name="T53" fmla="*/ 96 h 114"/>
                  <a:gd name="T54" fmla="*/ 44 w 114"/>
                  <a:gd name="T55" fmla="*/ 96 h 114"/>
                  <a:gd name="T56" fmla="*/ 44 w 114"/>
                  <a:gd name="T57" fmla="*/ 44 h 114"/>
                  <a:gd name="T58" fmla="*/ 61 w 114"/>
                  <a:gd name="T59" fmla="*/ 44 h 114"/>
                  <a:gd name="T60" fmla="*/ 61 w 114"/>
                  <a:gd name="T61" fmla="*/ 51 h 114"/>
                  <a:gd name="T62" fmla="*/ 77 w 114"/>
                  <a:gd name="T63" fmla="*/ 43 h 114"/>
                  <a:gd name="T64" fmla="*/ 97 w 114"/>
                  <a:gd name="T65" fmla="*/ 66 h 114"/>
                  <a:gd name="T66" fmla="*/ 97 w 114"/>
                  <a:gd name="T67"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 h="114">
                    <a:moveTo>
                      <a:pt x="106" y="0"/>
                    </a:moveTo>
                    <a:cubicBezTo>
                      <a:pt x="8" y="0"/>
                      <a:pt x="8" y="0"/>
                      <a:pt x="8" y="0"/>
                    </a:cubicBezTo>
                    <a:cubicBezTo>
                      <a:pt x="4" y="0"/>
                      <a:pt x="0" y="3"/>
                      <a:pt x="0" y="8"/>
                    </a:cubicBezTo>
                    <a:cubicBezTo>
                      <a:pt x="0" y="106"/>
                      <a:pt x="0" y="106"/>
                      <a:pt x="0" y="106"/>
                    </a:cubicBezTo>
                    <a:cubicBezTo>
                      <a:pt x="0" y="111"/>
                      <a:pt x="4" y="114"/>
                      <a:pt x="8" y="114"/>
                    </a:cubicBezTo>
                    <a:cubicBezTo>
                      <a:pt x="106" y="114"/>
                      <a:pt x="106" y="114"/>
                      <a:pt x="106" y="114"/>
                    </a:cubicBezTo>
                    <a:cubicBezTo>
                      <a:pt x="110" y="114"/>
                      <a:pt x="114" y="111"/>
                      <a:pt x="114" y="106"/>
                    </a:cubicBezTo>
                    <a:cubicBezTo>
                      <a:pt x="114" y="8"/>
                      <a:pt x="114" y="8"/>
                      <a:pt x="114" y="8"/>
                    </a:cubicBezTo>
                    <a:cubicBezTo>
                      <a:pt x="114" y="3"/>
                      <a:pt x="110" y="0"/>
                      <a:pt x="106" y="0"/>
                    </a:cubicBezTo>
                    <a:close/>
                    <a:moveTo>
                      <a:pt x="35" y="96"/>
                    </a:moveTo>
                    <a:cubicBezTo>
                      <a:pt x="17" y="96"/>
                      <a:pt x="17" y="96"/>
                      <a:pt x="17" y="96"/>
                    </a:cubicBezTo>
                    <a:cubicBezTo>
                      <a:pt x="17" y="44"/>
                      <a:pt x="17" y="44"/>
                      <a:pt x="17" y="44"/>
                    </a:cubicBezTo>
                    <a:cubicBezTo>
                      <a:pt x="35" y="44"/>
                      <a:pt x="35" y="44"/>
                      <a:pt x="35" y="44"/>
                    </a:cubicBezTo>
                    <a:lnTo>
                      <a:pt x="35" y="96"/>
                    </a:lnTo>
                    <a:close/>
                    <a:moveTo>
                      <a:pt x="26" y="37"/>
                    </a:moveTo>
                    <a:cubicBezTo>
                      <a:pt x="26" y="37"/>
                      <a:pt x="26" y="37"/>
                      <a:pt x="26" y="37"/>
                    </a:cubicBezTo>
                    <a:cubicBezTo>
                      <a:pt x="20" y="37"/>
                      <a:pt x="16" y="33"/>
                      <a:pt x="16" y="28"/>
                    </a:cubicBezTo>
                    <a:cubicBezTo>
                      <a:pt x="16" y="23"/>
                      <a:pt x="20" y="19"/>
                      <a:pt x="26" y="19"/>
                    </a:cubicBezTo>
                    <a:cubicBezTo>
                      <a:pt x="32" y="19"/>
                      <a:pt x="36" y="23"/>
                      <a:pt x="36" y="28"/>
                    </a:cubicBezTo>
                    <a:cubicBezTo>
                      <a:pt x="36" y="33"/>
                      <a:pt x="32" y="37"/>
                      <a:pt x="26" y="37"/>
                    </a:cubicBezTo>
                    <a:close/>
                    <a:moveTo>
                      <a:pt x="97" y="96"/>
                    </a:moveTo>
                    <a:cubicBezTo>
                      <a:pt x="80" y="96"/>
                      <a:pt x="80" y="96"/>
                      <a:pt x="80" y="96"/>
                    </a:cubicBezTo>
                    <a:cubicBezTo>
                      <a:pt x="80" y="68"/>
                      <a:pt x="80" y="68"/>
                      <a:pt x="80" y="68"/>
                    </a:cubicBezTo>
                    <a:cubicBezTo>
                      <a:pt x="80" y="61"/>
                      <a:pt x="77" y="56"/>
                      <a:pt x="71" y="56"/>
                    </a:cubicBezTo>
                    <a:cubicBezTo>
                      <a:pt x="66" y="56"/>
                      <a:pt x="63" y="59"/>
                      <a:pt x="62" y="63"/>
                    </a:cubicBezTo>
                    <a:cubicBezTo>
                      <a:pt x="61" y="64"/>
                      <a:pt x="61" y="65"/>
                      <a:pt x="61" y="67"/>
                    </a:cubicBezTo>
                    <a:cubicBezTo>
                      <a:pt x="61" y="96"/>
                      <a:pt x="61" y="96"/>
                      <a:pt x="61" y="96"/>
                    </a:cubicBezTo>
                    <a:cubicBezTo>
                      <a:pt x="44" y="96"/>
                      <a:pt x="44" y="96"/>
                      <a:pt x="44" y="96"/>
                    </a:cubicBezTo>
                    <a:cubicBezTo>
                      <a:pt x="44" y="96"/>
                      <a:pt x="44" y="49"/>
                      <a:pt x="44" y="44"/>
                    </a:cubicBezTo>
                    <a:cubicBezTo>
                      <a:pt x="61" y="44"/>
                      <a:pt x="61" y="44"/>
                      <a:pt x="61" y="44"/>
                    </a:cubicBezTo>
                    <a:cubicBezTo>
                      <a:pt x="61" y="51"/>
                      <a:pt x="61" y="51"/>
                      <a:pt x="61" y="51"/>
                    </a:cubicBezTo>
                    <a:cubicBezTo>
                      <a:pt x="64" y="48"/>
                      <a:pt x="68" y="43"/>
                      <a:pt x="77" y="43"/>
                    </a:cubicBezTo>
                    <a:cubicBezTo>
                      <a:pt x="88" y="43"/>
                      <a:pt x="97" y="50"/>
                      <a:pt x="97" y="66"/>
                    </a:cubicBezTo>
                    <a:lnTo>
                      <a:pt x="97" y="96"/>
                    </a:lnTo>
                    <a:close/>
                  </a:path>
                </a:pathLst>
              </a:custGeom>
              <a:solidFill>
                <a:schemeClr val="bg2"/>
              </a:solidFill>
              <a:ln>
                <a:noFill/>
              </a:ln>
            </p:spPr>
            <p:txBody>
              <a:bodyPr anchor="ctr"/>
              <a:lstStyle/>
              <a:p>
                <a:pPr algn="ctr"/>
                <a:endParaRPr/>
              </a:p>
            </p:txBody>
          </p:sp>
          <p:grpSp>
            <p:nvGrpSpPr>
              <p:cNvPr id="26" name="íŝľïḍê"/>
              <p:cNvGrpSpPr/>
              <p:nvPr/>
            </p:nvGrpSpPr>
            <p:grpSpPr>
              <a:xfrm>
                <a:off x="7122757" y="4228974"/>
                <a:ext cx="865461" cy="865677"/>
                <a:chOff x="4127501" y="4194175"/>
                <a:chExt cx="909638" cy="909637"/>
              </a:xfrm>
              <a:solidFill>
                <a:schemeClr val="bg2"/>
              </a:solidFill>
            </p:grpSpPr>
            <p:sp>
              <p:nvSpPr>
                <p:cNvPr id="56" name="ïšľîḋe"/>
                <p:cNvSpPr/>
                <p:nvPr/>
              </p:nvSpPr>
              <p:spPr bwMode="auto">
                <a:xfrm>
                  <a:off x="4386263" y="4659313"/>
                  <a:ext cx="96838" cy="192087"/>
                </a:xfrm>
                <a:custGeom>
                  <a:avLst/>
                  <a:gdLst>
                    <a:gd name="T0" fmla="*/ 0 w 61"/>
                    <a:gd name="T1" fmla="*/ 18 h 121"/>
                    <a:gd name="T2" fmla="*/ 22 w 61"/>
                    <a:gd name="T3" fmla="*/ 18 h 121"/>
                    <a:gd name="T4" fmla="*/ 22 w 61"/>
                    <a:gd name="T5" fmla="*/ 121 h 121"/>
                    <a:gd name="T6" fmla="*/ 40 w 61"/>
                    <a:gd name="T7" fmla="*/ 121 h 121"/>
                    <a:gd name="T8" fmla="*/ 40 w 61"/>
                    <a:gd name="T9" fmla="*/ 18 h 121"/>
                    <a:gd name="T10" fmla="*/ 61 w 61"/>
                    <a:gd name="T11" fmla="*/ 18 h 121"/>
                    <a:gd name="T12" fmla="*/ 61 w 61"/>
                    <a:gd name="T13" fmla="*/ 0 h 121"/>
                    <a:gd name="T14" fmla="*/ 0 w 61"/>
                    <a:gd name="T15" fmla="*/ 0 h 121"/>
                    <a:gd name="T16" fmla="*/ 0 w 61"/>
                    <a:gd name="T17" fmla="*/ 1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21">
                      <a:moveTo>
                        <a:pt x="0" y="18"/>
                      </a:moveTo>
                      <a:lnTo>
                        <a:pt x="22" y="18"/>
                      </a:lnTo>
                      <a:lnTo>
                        <a:pt x="22" y="121"/>
                      </a:lnTo>
                      <a:lnTo>
                        <a:pt x="40" y="121"/>
                      </a:lnTo>
                      <a:lnTo>
                        <a:pt x="40" y="18"/>
                      </a:lnTo>
                      <a:lnTo>
                        <a:pt x="61" y="18"/>
                      </a:lnTo>
                      <a:lnTo>
                        <a:pt x="61" y="0"/>
                      </a:lnTo>
                      <a:lnTo>
                        <a:pt x="0" y="0"/>
                      </a:lnTo>
                      <a:lnTo>
                        <a:pt x="0" y="18"/>
                      </a:lnTo>
                      <a:close/>
                    </a:path>
                  </a:pathLst>
                </a:custGeom>
                <a:grpFill/>
                <a:ln>
                  <a:noFill/>
                </a:ln>
              </p:spPr>
              <p:txBody>
                <a:bodyPr anchor="ctr"/>
                <a:lstStyle/>
                <a:p>
                  <a:pPr algn="ctr"/>
                  <a:endParaRPr/>
                </a:p>
              </p:txBody>
            </p:sp>
            <p:sp>
              <p:nvSpPr>
                <p:cNvPr id="57" name="ïŝľîďe"/>
                <p:cNvSpPr/>
                <p:nvPr/>
              </p:nvSpPr>
              <p:spPr bwMode="auto">
                <a:xfrm>
                  <a:off x="4572001" y="4440238"/>
                  <a:ext cx="25400" cy="109537"/>
                </a:xfrm>
                <a:custGeom>
                  <a:avLst/>
                  <a:gdLst>
                    <a:gd name="T0" fmla="*/ 3 w 6"/>
                    <a:gd name="T1" fmla="*/ 26 h 26"/>
                    <a:gd name="T2" fmla="*/ 5 w 6"/>
                    <a:gd name="T3" fmla="*/ 25 h 26"/>
                    <a:gd name="T4" fmla="*/ 6 w 6"/>
                    <a:gd name="T5" fmla="*/ 23 h 26"/>
                    <a:gd name="T6" fmla="*/ 6 w 6"/>
                    <a:gd name="T7" fmla="*/ 3 h 26"/>
                    <a:gd name="T8" fmla="*/ 5 w 6"/>
                    <a:gd name="T9" fmla="*/ 1 h 26"/>
                    <a:gd name="T10" fmla="*/ 3 w 6"/>
                    <a:gd name="T11" fmla="*/ 0 h 26"/>
                    <a:gd name="T12" fmla="*/ 0 w 6"/>
                    <a:gd name="T13" fmla="*/ 1 h 26"/>
                    <a:gd name="T14" fmla="*/ 0 w 6"/>
                    <a:gd name="T15" fmla="*/ 3 h 26"/>
                    <a:gd name="T16" fmla="*/ 0 w 6"/>
                    <a:gd name="T17" fmla="*/ 23 h 26"/>
                    <a:gd name="T18" fmla="*/ 0 w 6"/>
                    <a:gd name="T19" fmla="*/ 25 h 26"/>
                    <a:gd name="T20" fmla="*/ 3 w 6"/>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6">
                      <a:moveTo>
                        <a:pt x="3" y="26"/>
                      </a:moveTo>
                      <a:cubicBezTo>
                        <a:pt x="4" y="26"/>
                        <a:pt x="5" y="26"/>
                        <a:pt x="5" y="25"/>
                      </a:cubicBezTo>
                      <a:cubicBezTo>
                        <a:pt x="6" y="25"/>
                        <a:pt x="6" y="24"/>
                        <a:pt x="6" y="23"/>
                      </a:cubicBezTo>
                      <a:cubicBezTo>
                        <a:pt x="6" y="3"/>
                        <a:pt x="6" y="3"/>
                        <a:pt x="6" y="3"/>
                      </a:cubicBezTo>
                      <a:cubicBezTo>
                        <a:pt x="6" y="2"/>
                        <a:pt x="6" y="1"/>
                        <a:pt x="5" y="1"/>
                      </a:cubicBezTo>
                      <a:cubicBezTo>
                        <a:pt x="5" y="0"/>
                        <a:pt x="4" y="0"/>
                        <a:pt x="3" y="0"/>
                      </a:cubicBezTo>
                      <a:cubicBezTo>
                        <a:pt x="2" y="0"/>
                        <a:pt x="1" y="0"/>
                        <a:pt x="0" y="1"/>
                      </a:cubicBezTo>
                      <a:cubicBezTo>
                        <a:pt x="0" y="1"/>
                        <a:pt x="0" y="2"/>
                        <a:pt x="0" y="3"/>
                      </a:cubicBezTo>
                      <a:cubicBezTo>
                        <a:pt x="0" y="23"/>
                        <a:pt x="0" y="23"/>
                        <a:pt x="0" y="23"/>
                      </a:cubicBezTo>
                      <a:cubicBezTo>
                        <a:pt x="0" y="24"/>
                        <a:pt x="0" y="25"/>
                        <a:pt x="0" y="25"/>
                      </a:cubicBezTo>
                      <a:cubicBezTo>
                        <a:pt x="1" y="26"/>
                        <a:pt x="2" y="26"/>
                        <a:pt x="3" y="26"/>
                      </a:cubicBezTo>
                      <a:close/>
                    </a:path>
                  </a:pathLst>
                </a:custGeom>
                <a:grpFill/>
                <a:ln>
                  <a:noFill/>
                </a:ln>
              </p:spPr>
              <p:txBody>
                <a:bodyPr anchor="ctr"/>
                <a:lstStyle/>
                <a:p>
                  <a:pPr algn="ctr"/>
                  <a:endParaRPr/>
                </a:p>
              </p:txBody>
            </p:sp>
            <p:sp>
              <p:nvSpPr>
                <p:cNvPr id="58" name="îṡliḋè"/>
                <p:cNvSpPr/>
                <p:nvPr/>
              </p:nvSpPr>
              <p:spPr bwMode="auto">
                <a:xfrm>
                  <a:off x="4600576" y="4659313"/>
                  <a:ext cx="79375" cy="192087"/>
                </a:xfrm>
                <a:custGeom>
                  <a:avLst/>
                  <a:gdLst>
                    <a:gd name="T0" fmla="*/ 13 w 19"/>
                    <a:gd name="T1" fmla="*/ 12 h 46"/>
                    <a:gd name="T2" fmla="*/ 9 w 19"/>
                    <a:gd name="T3" fmla="*/ 12 h 46"/>
                    <a:gd name="T4" fmla="*/ 6 w 19"/>
                    <a:gd name="T5" fmla="*/ 15 h 46"/>
                    <a:gd name="T6" fmla="*/ 6 w 19"/>
                    <a:gd name="T7" fmla="*/ 0 h 46"/>
                    <a:gd name="T8" fmla="*/ 0 w 19"/>
                    <a:gd name="T9" fmla="*/ 0 h 46"/>
                    <a:gd name="T10" fmla="*/ 0 w 19"/>
                    <a:gd name="T11" fmla="*/ 46 h 46"/>
                    <a:gd name="T12" fmla="*/ 6 w 19"/>
                    <a:gd name="T13" fmla="*/ 46 h 46"/>
                    <a:gd name="T14" fmla="*/ 6 w 19"/>
                    <a:gd name="T15" fmla="*/ 43 h 46"/>
                    <a:gd name="T16" fmla="*/ 9 w 19"/>
                    <a:gd name="T17" fmla="*/ 45 h 46"/>
                    <a:gd name="T18" fmla="*/ 13 w 19"/>
                    <a:gd name="T19" fmla="*/ 46 h 46"/>
                    <a:gd name="T20" fmla="*/ 18 w 19"/>
                    <a:gd name="T21" fmla="*/ 44 h 46"/>
                    <a:gd name="T22" fmla="*/ 19 w 19"/>
                    <a:gd name="T23" fmla="*/ 39 h 46"/>
                    <a:gd name="T24" fmla="*/ 19 w 19"/>
                    <a:gd name="T25" fmla="*/ 20 h 46"/>
                    <a:gd name="T26" fmla="*/ 17 w 19"/>
                    <a:gd name="T27" fmla="*/ 14 h 46"/>
                    <a:gd name="T28" fmla="*/ 13 w 19"/>
                    <a:gd name="T29" fmla="*/ 12 h 46"/>
                    <a:gd name="T30" fmla="*/ 12 w 19"/>
                    <a:gd name="T31" fmla="*/ 38 h 46"/>
                    <a:gd name="T32" fmla="*/ 12 w 19"/>
                    <a:gd name="T33" fmla="*/ 40 h 46"/>
                    <a:gd name="T34" fmla="*/ 10 w 19"/>
                    <a:gd name="T35" fmla="*/ 41 h 46"/>
                    <a:gd name="T36" fmla="*/ 8 w 19"/>
                    <a:gd name="T37" fmla="*/ 41 h 46"/>
                    <a:gd name="T38" fmla="*/ 6 w 19"/>
                    <a:gd name="T39" fmla="*/ 39 h 46"/>
                    <a:gd name="T40" fmla="*/ 6 w 19"/>
                    <a:gd name="T41" fmla="*/ 18 h 46"/>
                    <a:gd name="T42" fmla="*/ 8 w 19"/>
                    <a:gd name="T43" fmla="*/ 17 h 46"/>
                    <a:gd name="T44" fmla="*/ 9 w 19"/>
                    <a:gd name="T45" fmla="*/ 17 h 46"/>
                    <a:gd name="T46" fmla="*/ 11 w 19"/>
                    <a:gd name="T47" fmla="*/ 18 h 46"/>
                    <a:gd name="T48" fmla="*/ 12 w 19"/>
                    <a:gd name="T49" fmla="*/ 20 h 46"/>
                    <a:gd name="T50" fmla="*/ 12 w 19"/>
                    <a:gd name="T51"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46">
                      <a:moveTo>
                        <a:pt x="13" y="12"/>
                      </a:moveTo>
                      <a:cubicBezTo>
                        <a:pt x="11" y="12"/>
                        <a:pt x="10" y="12"/>
                        <a:pt x="9" y="12"/>
                      </a:cubicBezTo>
                      <a:cubicBezTo>
                        <a:pt x="8" y="13"/>
                        <a:pt x="7" y="14"/>
                        <a:pt x="6" y="15"/>
                      </a:cubicBezTo>
                      <a:cubicBezTo>
                        <a:pt x="6" y="0"/>
                        <a:pt x="6" y="0"/>
                        <a:pt x="6" y="0"/>
                      </a:cubicBezTo>
                      <a:cubicBezTo>
                        <a:pt x="0" y="0"/>
                        <a:pt x="0" y="0"/>
                        <a:pt x="0" y="0"/>
                      </a:cubicBezTo>
                      <a:cubicBezTo>
                        <a:pt x="0" y="46"/>
                        <a:pt x="0" y="46"/>
                        <a:pt x="0" y="46"/>
                      </a:cubicBezTo>
                      <a:cubicBezTo>
                        <a:pt x="6" y="46"/>
                        <a:pt x="6" y="46"/>
                        <a:pt x="6" y="46"/>
                      </a:cubicBezTo>
                      <a:cubicBezTo>
                        <a:pt x="6" y="43"/>
                        <a:pt x="6" y="43"/>
                        <a:pt x="6" y="43"/>
                      </a:cubicBezTo>
                      <a:cubicBezTo>
                        <a:pt x="7" y="44"/>
                        <a:pt x="8" y="45"/>
                        <a:pt x="9" y="45"/>
                      </a:cubicBezTo>
                      <a:cubicBezTo>
                        <a:pt x="10" y="46"/>
                        <a:pt x="12" y="46"/>
                        <a:pt x="13" y="46"/>
                      </a:cubicBezTo>
                      <a:cubicBezTo>
                        <a:pt x="15" y="46"/>
                        <a:pt x="16" y="46"/>
                        <a:pt x="18" y="44"/>
                      </a:cubicBezTo>
                      <a:cubicBezTo>
                        <a:pt x="19" y="43"/>
                        <a:pt x="19" y="41"/>
                        <a:pt x="19" y="39"/>
                      </a:cubicBezTo>
                      <a:cubicBezTo>
                        <a:pt x="19" y="20"/>
                        <a:pt x="19" y="20"/>
                        <a:pt x="19" y="20"/>
                      </a:cubicBezTo>
                      <a:cubicBezTo>
                        <a:pt x="19" y="17"/>
                        <a:pt x="19" y="15"/>
                        <a:pt x="17" y="14"/>
                      </a:cubicBezTo>
                      <a:cubicBezTo>
                        <a:pt x="16" y="12"/>
                        <a:pt x="15" y="12"/>
                        <a:pt x="13" y="12"/>
                      </a:cubicBezTo>
                      <a:close/>
                      <a:moveTo>
                        <a:pt x="12" y="38"/>
                      </a:moveTo>
                      <a:cubicBezTo>
                        <a:pt x="12" y="39"/>
                        <a:pt x="12" y="40"/>
                        <a:pt x="12" y="40"/>
                      </a:cubicBezTo>
                      <a:cubicBezTo>
                        <a:pt x="11" y="41"/>
                        <a:pt x="11" y="41"/>
                        <a:pt x="10" y="41"/>
                      </a:cubicBezTo>
                      <a:cubicBezTo>
                        <a:pt x="9" y="41"/>
                        <a:pt x="9" y="41"/>
                        <a:pt x="8" y="41"/>
                      </a:cubicBezTo>
                      <a:cubicBezTo>
                        <a:pt x="8" y="40"/>
                        <a:pt x="7" y="40"/>
                        <a:pt x="6" y="39"/>
                      </a:cubicBezTo>
                      <a:cubicBezTo>
                        <a:pt x="6" y="18"/>
                        <a:pt x="6" y="18"/>
                        <a:pt x="6" y="18"/>
                      </a:cubicBezTo>
                      <a:cubicBezTo>
                        <a:pt x="7" y="18"/>
                        <a:pt x="7" y="17"/>
                        <a:pt x="8" y="17"/>
                      </a:cubicBezTo>
                      <a:cubicBezTo>
                        <a:pt x="8" y="17"/>
                        <a:pt x="9" y="17"/>
                        <a:pt x="9" y="17"/>
                      </a:cubicBezTo>
                      <a:cubicBezTo>
                        <a:pt x="10" y="17"/>
                        <a:pt x="11" y="17"/>
                        <a:pt x="11" y="18"/>
                      </a:cubicBezTo>
                      <a:cubicBezTo>
                        <a:pt x="12" y="18"/>
                        <a:pt x="12" y="19"/>
                        <a:pt x="12" y="20"/>
                      </a:cubicBezTo>
                      <a:lnTo>
                        <a:pt x="12" y="38"/>
                      </a:lnTo>
                      <a:close/>
                    </a:path>
                  </a:pathLst>
                </a:custGeom>
                <a:grpFill/>
                <a:ln>
                  <a:noFill/>
                </a:ln>
              </p:spPr>
              <p:txBody>
                <a:bodyPr anchor="ctr"/>
                <a:lstStyle/>
                <a:p>
                  <a:pPr algn="ctr"/>
                  <a:endParaRPr/>
                </a:p>
              </p:txBody>
            </p:sp>
            <p:sp>
              <p:nvSpPr>
                <p:cNvPr id="59" name="ïṡľíḓê"/>
                <p:cNvSpPr/>
                <p:nvPr/>
              </p:nvSpPr>
              <p:spPr bwMode="auto">
                <a:xfrm>
                  <a:off x="4495801" y="4710113"/>
                  <a:ext cx="84138" cy="141287"/>
                </a:xfrm>
                <a:custGeom>
                  <a:avLst/>
                  <a:gdLst>
                    <a:gd name="T0" fmla="*/ 13 w 20"/>
                    <a:gd name="T1" fmla="*/ 26 h 34"/>
                    <a:gd name="T2" fmla="*/ 11 w 20"/>
                    <a:gd name="T3" fmla="*/ 27 h 34"/>
                    <a:gd name="T4" fmla="*/ 9 w 20"/>
                    <a:gd name="T5" fmla="*/ 28 h 34"/>
                    <a:gd name="T6" fmla="*/ 7 w 20"/>
                    <a:gd name="T7" fmla="*/ 28 h 34"/>
                    <a:gd name="T8" fmla="*/ 7 w 20"/>
                    <a:gd name="T9" fmla="*/ 26 h 34"/>
                    <a:gd name="T10" fmla="*/ 7 w 20"/>
                    <a:gd name="T11" fmla="*/ 0 h 34"/>
                    <a:gd name="T12" fmla="*/ 0 w 20"/>
                    <a:gd name="T13" fmla="*/ 0 h 34"/>
                    <a:gd name="T14" fmla="*/ 0 w 20"/>
                    <a:gd name="T15" fmla="*/ 28 h 34"/>
                    <a:gd name="T16" fmla="*/ 1 w 20"/>
                    <a:gd name="T17" fmla="*/ 33 h 34"/>
                    <a:gd name="T18" fmla="*/ 5 w 20"/>
                    <a:gd name="T19" fmla="*/ 34 h 34"/>
                    <a:gd name="T20" fmla="*/ 9 w 20"/>
                    <a:gd name="T21" fmla="*/ 33 h 34"/>
                    <a:gd name="T22" fmla="*/ 13 w 20"/>
                    <a:gd name="T23" fmla="*/ 30 h 34"/>
                    <a:gd name="T24" fmla="*/ 13 w 20"/>
                    <a:gd name="T25" fmla="*/ 34 h 34"/>
                    <a:gd name="T26" fmla="*/ 20 w 20"/>
                    <a:gd name="T27" fmla="*/ 34 h 34"/>
                    <a:gd name="T28" fmla="*/ 20 w 20"/>
                    <a:gd name="T29" fmla="*/ 0 h 34"/>
                    <a:gd name="T30" fmla="*/ 13 w 20"/>
                    <a:gd name="T31" fmla="*/ 0 h 34"/>
                    <a:gd name="T32" fmla="*/ 13 w 20"/>
                    <a:gd name="T33"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13" y="26"/>
                      </a:moveTo>
                      <a:cubicBezTo>
                        <a:pt x="12" y="26"/>
                        <a:pt x="11" y="27"/>
                        <a:pt x="11" y="27"/>
                      </a:cubicBezTo>
                      <a:cubicBezTo>
                        <a:pt x="10" y="28"/>
                        <a:pt x="9" y="28"/>
                        <a:pt x="9" y="28"/>
                      </a:cubicBezTo>
                      <a:cubicBezTo>
                        <a:pt x="8" y="28"/>
                        <a:pt x="8" y="28"/>
                        <a:pt x="7" y="28"/>
                      </a:cubicBezTo>
                      <a:cubicBezTo>
                        <a:pt x="7" y="27"/>
                        <a:pt x="7" y="27"/>
                        <a:pt x="7" y="26"/>
                      </a:cubicBezTo>
                      <a:cubicBezTo>
                        <a:pt x="7" y="0"/>
                        <a:pt x="7" y="0"/>
                        <a:pt x="7" y="0"/>
                      </a:cubicBezTo>
                      <a:cubicBezTo>
                        <a:pt x="0" y="0"/>
                        <a:pt x="0" y="0"/>
                        <a:pt x="0" y="0"/>
                      </a:cubicBezTo>
                      <a:cubicBezTo>
                        <a:pt x="0" y="28"/>
                        <a:pt x="0" y="28"/>
                        <a:pt x="0" y="28"/>
                      </a:cubicBezTo>
                      <a:cubicBezTo>
                        <a:pt x="0" y="30"/>
                        <a:pt x="1" y="32"/>
                        <a:pt x="1" y="33"/>
                      </a:cubicBezTo>
                      <a:cubicBezTo>
                        <a:pt x="2" y="34"/>
                        <a:pt x="3" y="34"/>
                        <a:pt x="5" y="34"/>
                      </a:cubicBezTo>
                      <a:cubicBezTo>
                        <a:pt x="6" y="34"/>
                        <a:pt x="8" y="34"/>
                        <a:pt x="9" y="33"/>
                      </a:cubicBezTo>
                      <a:cubicBezTo>
                        <a:pt x="10" y="32"/>
                        <a:pt x="12" y="31"/>
                        <a:pt x="13" y="30"/>
                      </a:cubicBezTo>
                      <a:cubicBezTo>
                        <a:pt x="13" y="34"/>
                        <a:pt x="13" y="34"/>
                        <a:pt x="13" y="34"/>
                      </a:cubicBezTo>
                      <a:cubicBezTo>
                        <a:pt x="20" y="34"/>
                        <a:pt x="20" y="34"/>
                        <a:pt x="20" y="34"/>
                      </a:cubicBezTo>
                      <a:cubicBezTo>
                        <a:pt x="20" y="0"/>
                        <a:pt x="20" y="0"/>
                        <a:pt x="20" y="0"/>
                      </a:cubicBezTo>
                      <a:cubicBezTo>
                        <a:pt x="13" y="0"/>
                        <a:pt x="13" y="0"/>
                        <a:pt x="13" y="0"/>
                      </a:cubicBezTo>
                      <a:lnTo>
                        <a:pt x="13" y="26"/>
                      </a:lnTo>
                      <a:close/>
                    </a:path>
                  </a:pathLst>
                </a:custGeom>
                <a:grpFill/>
                <a:ln>
                  <a:noFill/>
                </a:ln>
              </p:spPr>
              <p:txBody>
                <a:bodyPr anchor="ctr"/>
                <a:lstStyle/>
                <a:p>
                  <a:pPr algn="ctr"/>
                  <a:endParaRPr/>
                </a:p>
              </p:txBody>
            </p:sp>
            <p:sp>
              <p:nvSpPr>
                <p:cNvPr id="60" name="i$1îḋê"/>
                <p:cNvSpPr/>
                <p:nvPr/>
              </p:nvSpPr>
              <p:spPr bwMode="auto">
                <a:xfrm>
                  <a:off x="4127501" y="4194175"/>
                  <a:ext cx="909638" cy="909637"/>
                </a:xfrm>
                <a:custGeom>
                  <a:avLst/>
                  <a:gdLst>
                    <a:gd name="T0" fmla="*/ 108 w 217"/>
                    <a:gd name="T1" fmla="*/ 0 h 217"/>
                    <a:gd name="T2" fmla="*/ 0 w 217"/>
                    <a:gd name="T3" fmla="*/ 108 h 217"/>
                    <a:gd name="T4" fmla="*/ 108 w 217"/>
                    <a:gd name="T5" fmla="*/ 217 h 217"/>
                    <a:gd name="T6" fmla="*/ 217 w 217"/>
                    <a:gd name="T7" fmla="*/ 108 h 217"/>
                    <a:gd name="T8" fmla="*/ 108 w 217"/>
                    <a:gd name="T9" fmla="*/ 0 h 217"/>
                    <a:gd name="T10" fmla="*/ 126 w 217"/>
                    <a:gd name="T11" fmla="*/ 53 h 217"/>
                    <a:gd name="T12" fmla="*/ 134 w 217"/>
                    <a:gd name="T13" fmla="*/ 53 h 217"/>
                    <a:gd name="T14" fmla="*/ 134 w 217"/>
                    <a:gd name="T15" fmla="*/ 82 h 217"/>
                    <a:gd name="T16" fmla="*/ 134 w 217"/>
                    <a:gd name="T17" fmla="*/ 84 h 217"/>
                    <a:gd name="T18" fmla="*/ 136 w 217"/>
                    <a:gd name="T19" fmla="*/ 84 h 217"/>
                    <a:gd name="T20" fmla="*/ 138 w 217"/>
                    <a:gd name="T21" fmla="*/ 84 h 217"/>
                    <a:gd name="T22" fmla="*/ 140 w 217"/>
                    <a:gd name="T23" fmla="*/ 82 h 217"/>
                    <a:gd name="T24" fmla="*/ 140 w 217"/>
                    <a:gd name="T25" fmla="*/ 53 h 217"/>
                    <a:gd name="T26" fmla="*/ 148 w 217"/>
                    <a:gd name="T27" fmla="*/ 53 h 217"/>
                    <a:gd name="T28" fmla="*/ 148 w 217"/>
                    <a:gd name="T29" fmla="*/ 91 h 217"/>
                    <a:gd name="T30" fmla="*/ 140 w 217"/>
                    <a:gd name="T31" fmla="*/ 91 h 217"/>
                    <a:gd name="T32" fmla="*/ 140 w 217"/>
                    <a:gd name="T33" fmla="*/ 86 h 217"/>
                    <a:gd name="T34" fmla="*/ 136 w 217"/>
                    <a:gd name="T35" fmla="*/ 90 h 217"/>
                    <a:gd name="T36" fmla="*/ 131 w 217"/>
                    <a:gd name="T37" fmla="*/ 91 h 217"/>
                    <a:gd name="T38" fmla="*/ 127 w 217"/>
                    <a:gd name="T39" fmla="*/ 89 h 217"/>
                    <a:gd name="T40" fmla="*/ 126 w 217"/>
                    <a:gd name="T41" fmla="*/ 84 h 217"/>
                    <a:gd name="T42" fmla="*/ 126 w 217"/>
                    <a:gd name="T43" fmla="*/ 53 h 217"/>
                    <a:gd name="T44" fmla="*/ 98 w 217"/>
                    <a:gd name="T45" fmla="*/ 62 h 217"/>
                    <a:gd name="T46" fmla="*/ 101 w 217"/>
                    <a:gd name="T47" fmla="*/ 55 h 217"/>
                    <a:gd name="T48" fmla="*/ 109 w 217"/>
                    <a:gd name="T49" fmla="*/ 52 h 217"/>
                    <a:gd name="T50" fmla="*/ 117 w 217"/>
                    <a:gd name="T51" fmla="*/ 55 h 217"/>
                    <a:gd name="T52" fmla="*/ 120 w 217"/>
                    <a:gd name="T53" fmla="*/ 62 h 217"/>
                    <a:gd name="T54" fmla="*/ 120 w 217"/>
                    <a:gd name="T55" fmla="*/ 81 h 217"/>
                    <a:gd name="T56" fmla="*/ 117 w 217"/>
                    <a:gd name="T57" fmla="*/ 89 h 217"/>
                    <a:gd name="T58" fmla="*/ 109 w 217"/>
                    <a:gd name="T59" fmla="*/ 91 h 217"/>
                    <a:gd name="T60" fmla="*/ 101 w 217"/>
                    <a:gd name="T61" fmla="*/ 89 h 217"/>
                    <a:gd name="T62" fmla="*/ 98 w 217"/>
                    <a:gd name="T63" fmla="*/ 81 h 217"/>
                    <a:gd name="T64" fmla="*/ 98 w 217"/>
                    <a:gd name="T65" fmla="*/ 62 h 217"/>
                    <a:gd name="T66" fmla="*/ 77 w 217"/>
                    <a:gd name="T67" fmla="*/ 40 h 217"/>
                    <a:gd name="T68" fmla="*/ 83 w 217"/>
                    <a:gd name="T69" fmla="*/ 60 h 217"/>
                    <a:gd name="T70" fmla="*/ 83 w 217"/>
                    <a:gd name="T71" fmla="*/ 60 h 217"/>
                    <a:gd name="T72" fmla="*/ 88 w 217"/>
                    <a:gd name="T73" fmla="*/ 40 h 217"/>
                    <a:gd name="T74" fmla="*/ 97 w 217"/>
                    <a:gd name="T75" fmla="*/ 40 h 217"/>
                    <a:gd name="T76" fmla="*/ 87 w 217"/>
                    <a:gd name="T77" fmla="*/ 70 h 217"/>
                    <a:gd name="T78" fmla="*/ 87 w 217"/>
                    <a:gd name="T79" fmla="*/ 91 h 217"/>
                    <a:gd name="T80" fmla="*/ 79 w 217"/>
                    <a:gd name="T81" fmla="*/ 91 h 217"/>
                    <a:gd name="T82" fmla="*/ 79 w 217"/>
                    <a:gd name="T83" fmla="*/ 71 h 217"/>
                    <a:gd name="T84" fmla="*/ 68 w 217"/>
                    <a:gd name="T85" fmla="*/ 40 h 217"/>
                    <a:gd name="T86" fmla="*/ 77 w 217"/>
                    <a:gd name="T87" fmla="*/ 40 h 217"/>
                    <a:gd name="T88" fmla="*/ 177 w 217"/>
                    <a:gd name="T89" fmla="*/ 146 h 217"/>
                    <a:gd name="T90" fmla="*/ 152 w 217"/>
                    <a:gd name="T91" fmla="*/ 171 h 217"/>
                    <a:gd name="T92" fmla="*/ 68 w 217"/>
                    <a:gd name="T93" fmla="*/ 171 h 217"/>
                    <a:gd name="T94" fmla="*/ 43 w 217"/>
                    <a:gd name="T95" fmla="*/ 146 h 217"/>
                    <a:gd name="T96" fmla="*/ 43 w 217"/>
                    <a:gd name="T97" fmla="*/ 127 h 217"/>
                    <a:gd name="T98" fmla="*/ 68 w 217"/>
                    <a:gd name="T99" fmla="*/ 102 h 217"/>
                    <a:gd name="T100" fmla="*/ 152 w 217"/>
                    <a:gd name="T101" fmla="*/ 102 h 217"/>
                    <a:gd name="T102" fmla="*/ 177 w 217"/>
                    <a:gd name="T103" fmla="*/ 127 h 217"/>
                    <a:gd name="T104" fmla="*/ 177 w 217"/>
                    <a:gd name="T105" fmla="*/ 14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7" h="217">
                      <a:moveTo>
                        <a:pt x="108" y="0"/>
                      </a:moveTo>
                      <a:cubicBezTo>
                        <a:pt x="48" y="0"/>
                        <a:pt x="0" y="48"/>
                        <a:pt x="0" y="108"/>
                      </a:cubicBezTo>
                      <a:cubicBezTo>
                        <a:pt x="0" y="169"/>
                        <a:pt x="48" y="217"/>
                        <a:pt x="108" y="217"/>
                      </a:cubicBezTo>
                      <a:cubicBezTo>
                        <a:pt x="169" y="217"/>
                        <a:pt x="217" y="169"/>
                        <a:pt x="217" y="108"/>
                      </a:cubicBezTo>
                      <a:cubicBezTo>
                        <a:pt x="217" y="48"/>
                        <a:pt x="169" y="0"/>
                        <a:pt x="108" y="0"/>
                      </a:cubicBezTo>
                      <a:close/>
                      <a:moveTo>
                        <a:pt x="126" y="53"/>
                      </a:moveTo>
                      <a:cubicBezTo>
                        <a:pt x="134" y="53"/>
                        <a:pt x="134" y="53"/>
                        <a:pt x="134" y="53"/>
                      </a:cubicBezTo>
                      <a:cubicBezTo>
                        <a:pt x="134" y="82"/>
                        <a:pt x="134" y="82"/>
                        <a:pt x="134" y="82"/>
                      </a:cubicBezTo>
                      <a:cubicBezTo>
                        <a:pt x="134" y="83"/>
                        <a:pt x="134" y="83"/>
                        <a:pt x="134" y="84"/>
                      </a:cubicBezTo>
                      <a:cubicBezTo>
                        <a:pt x="134" y="84"/>
                        <a:pt x="135" y="84"/>
                        <a:pt x="136" y="84"/>
                      </a:cubicBezTo>
                      <a:cubicBezTo>
                        <a:pt x="136" y="84"/>
                        <a:pt x="137" y="84"/>
                        <a:pt x="138" y="84"/>
                      </a:cubicBezTo>
                      <a:cubicBezTo>
                        <a:pt x="139" y="83"/>
                        <a:pt x="139" y="82"/>
                        <a:pt x="140" y="82"/>
                      </a:cubicBezTo>
                      <a:cubicBezTo>
                        <a:pt x="140" y="53"/>
                        <a:pt x="140" y="53"/>
                        <a:pt x="140" y="53"/>
                      </a:cubicBezTo>
                      <a:cubicBezTo>
                        <a:pt x="148" y="53"/>
                        <a:pt x="148" y="53"/>
                        <a:pt x="148" y="53"/>
                      </a:cubicBezTo>
                      <a:cubicBezTo>
                        <a:pt x="148" y="91"/>
                        <a:pt x="148" y="91"/>
                        <a:pt x="148" y="91"/>
                      </a:cubicBezTo>
                      <a:cubicBezTo>
                        <a:pt x="140" y="91"/>
                        <a:pt x="140" y="91"/>
                        <a:pt x="140" y="91"/>
                      </a:cubicBezTo>
                      <a:cubicBezTo>
                        <a:pt x="140" y="86"/>
                        <a:pt x="140" y="86"/>
                        <a:pt x="140" y="86"/>
                      </a:cubicBezTo>
                      <a:cubicBezTo>
                        <a:pt x="139" y="88"/>
                        <a:pt x="137" y="89"/>
                        <a:pt x="136" y="90"/>
                      </a:cubicBezTo>
                      <a:cubicBezTo>
                        <a:pt x="134" y="91"/>
                        <a:pt x="133" y="91"/>
                        <a:pt x="131" y="91"/>
                      </a:cubicBezTo>
                      <a:cubicBezTo>
                        <a:pt x="130" y="91"/>
                        <a:pt x="128" y="91"/>
                        <a:pt x="127" y="89"/>
                      </a:cubicBezTo>
                      <a:cubicBezTo>
                        <a:pt x="126" y="88"/>
                        <a:pt x="126" y="87"/>
                        <a:pt x="126" y="84"/>
                      </a:cubicBezTo>
                      <a:lnTo>
                        <a:pt x="126" y="53"/>
                      </a:lnTo>
                      <a:close/>
                      <a:moveTo>
                        <a:pt x="98" y="62"/>
                      </a:moveTo>
                      <a:cubicBezTo>
                        <a:pt x="98" y="59"/>
                        <a:pt x="99" y="57"/>
                        <a:pt x="101" y="55"/>
                      </a:cubicBezTo>
                      <a:cubicBezTo>
                        <a:pt x="103" y="53"/>
                        <a:pt x="106" y="52"/>
                        <a:pt x="109" y="52"/>
                      </a:cubicBezTo>
                      <a:cubicBezTo>
                        <a:pt x="112" y="52"/>
                        <a:pt x="115" y="53"/>
                        <a:pt x="117" y="55"/>
                      </a:cubicBezTo>
                      <a:cubicBezTo>
                        <a:pt x="119" y="57"/>
                        <a:pt x="120" y="59"/>
                        <a:pt x="120" y="62"/>
                      </a:cubicBezTo>
                      <a:cubicBezTo>
                        <a:pt x="120" y="81"/>
                        <a:pt x="120" y="81"/>
                        <a:pt x="120" y="81"/>
                      </a:cubicBezTo>
                      <a:cubicBezTo>
                        <a:pt x="120" y="84"/>
                        <a:pt x="119" y="87"/>
                        <a:pt x="117" y="89"/>
                      </a:cubicBezTo>
                      <a:cubicBezTo>
                        <a:pt x="115" y="91"/>
                        <a:pt x="112" y="91"/>
                        <a:pt x="109" y="91"/>
                      </a:cubicBezTo>
                      <a:cubicBezTo>
                        <a:pt x="105" y="91"/>
                        <a:pt x="103" y="91"/>
                        <a:pt x="101" y="89"/>
                      </a:cubicBezTo>
                      <a:cubicBezTo>
                        <a:pt x="99" y="87"/>
                        <a:pt x="98" y="84"/>
                        <a:pt x="98" y="81"/>
                      </a:cubicBezTo>
                      <a:lnTo>
                        <a:pt x="98" y="62"/>
                      </a:lnTo>
                      <a:close/>
                      <a:moveTo>
                        <a:pt x="77" y="40"/>
                      </a:moveTo>
                      <a:cubicBezTo>
                        <a:pt x="83" y="60"/>
                        <a:pt x="83" y="60"/>
                        <a:pt x="83" y="60"/>
                      </a:cubicBezTo>
                      <a:cubicBezTo>
                        <a:pt x="83" y="60"/>
                        <a:pt x="83" y="60"/>
                        <a:pt x="83" y="60"/>
                      </a:cubicBezTo>
                      <a:cubicBezTo>
                        <a:pt x="88" y="40"/>
                        <a:pt x="88" y="40"/>
                        <a:pt x="88" y="40"/>
                      </a:cubicBezTo>
                      <a:cubicBezTo>
                        <a:pt x="97" y="40"/>
                        <a:pt x="97" y="40"/>
                        <a:pt x="97" y="40"/>
                      </a:cubicBezTo>
                      <a:cubicBezTo>
                        <a:pt x="87" y="70"/>
                        <a:pt x="87" y="70"/>
                        <a:pt x="87" y="70"/>
                      </a:cubicBezTo>
                      <a:cubicBezTo>
                        <a:pt x="87" y="91"/>
                        <a:pt x="87" y="91"/>
                        <a:pt x="87" y="91"/>
                      </a:cubicBezTo>
                      <a:cubicBezTo>
                        <a:pt x="79" y="91"/>
                        <a:pt x="79" y="91"/>
                        <a:pt x="79" y="91"/>
                      </a:cubicBezTo>
                      <a:cubicBezTo>
                        <a:pt x="79" y="71"/>
                        <a:pt x="79" y="71"/>
                        <a:pt x="79" y="71"/>
                      </a:cubicBezTo>
                      <a:cubicBezTo>
                        <a:pt x="68" y="40"/>
                        <a:pt x="68" y="40"/>
                        <a:pt x="68" y="40"/>
                      </a:cubicBezTo>
                      <a:lnTo>
                        <a:pt x="77" y="40"/>
                      </a:lnTo>
                      <a:close/>
                      <a:moveTo>
                        <a:pt x="177" y="146"/>
                      </a:moveTo>
                      <a:cubicBezTo>
                        <a:pt x="177" y="160"/>
                        <a:pt x="166" y="171"/>
                        <a:pt x="152" y="171"/>
                      </a:cubicBezTo>
                      <a:cubicBezTo>
                        <a:pt x="68" y="171"/>
                        <a:pt x="68" y="171"/>
                        <a:pt x="68" y="171"/>
                      </a:cubicBezTo>
                      <a:cubicBezTo>
                        <a:pt x="54" y="171"/>
                        <a:pt x="43" y="160"/>
                        <a:pt x="43" y="146"/>
                      </a:cubicBezTo>
                      <a:cubicBezTo>
                        <a:pt x="43" y="127"/>
                        <a:pt x="43" y="127"/>
                        <a:pt x="43" y="127"/>
                      </a:cubicBezTo>
                      <a:cubicBezTo>
                        <a:pt x="43" y="113"/>
                        <a:pt x="54" y="102"/>
                        <a:pt x="68" y="102"/>
                      </a:cubicBezTo>
                      <a:cubicBezTo>
                        <a:pt x="152" y="102"/>
                        <a:pt x="152" y="102"/>
                        <a:pt x="152" y="102"/>
                      </a:cubicBezTo>
                      <a:cubicBezTo>
                        <a:pt x="166" y="102"/>
                        <a:pt x="177" y="113"/>
                        <a:pt x="177" y="127"/>
                      </a:cubicBezTo>
                      <a:lnTo>
                        <a:pt x="177" y="146"/>
                      </a:lnTo>
                      <a:close/>
                    </a:path>
                  </a:pathLst>
                </a:custGeom>
                <a:grpFill/>
                <a:ln>
                  <a:noFill/>
                </a:ln>
              </p:spPr>
              <p:txBody>
                <a:bodyPr anchor="ctr"/>
                <a:lstStyle/>
                <a:p>
                  <a:pPr algn="ctr"/>
                  <a:endParaRPr/>
                </a:p>
              </p:txBody>
            </p:sp>
            <p:sp>
              <p:nvSpPr>
                <p:cNvPr id="61" name="ïṣliḍè"/>
                <p:cNvSpPr/>
                <p:nvPr/>
              </p:nvSpPr>
              <p:spPr bwMode="auto">
                <a:xfrm>
                  <a:off x="4697413" y="4705350"/>
                  <a:ext cx="84138" cy="150812"/>
                </a:xfrm>
                <a:custGeom>
                  <a:avLst/>
                  <a:gdLst>
                    <a:gd name="T0" fmla="*/ 10 w 20"/>
                    <a:gd name="T1" fmla="*/ 0 h 36"/>
                    <a:gd name="T2" fmla="*/ 3 w 20"/>
                    <a:gd name="T3" fmla="*/ 3 h 36"/>
                    <a:gd name="T4" fmla="*/ 0 w 20"/>
                    <a:gd name="T5" fmla="*/ 10 h 36"/>
                    <a:gd name="T6" fmla="*/ 0 w 20"/>
                    <a:gd name="T7" fmla="*/ 25 h 36"/>
                    <a:gd name="T8" fmla="*/ 2 w 20"/>
                    <a:gd name="T9" fmla="*/ 33 h 36"/>
                    <a:gd name="T10" fmla="*/ 9 w 20"/>
                    <a:gd name="T11" fmla="*/ 36 h 36"/>
                    <a:gd name="T12" fmla="*/ 17 w 20"/>
                    <a:gd name="T13" fmla="*/ 33 h 36"/>
                    <a:gd name="T14" fmla="*/ 20 w 20"/>
                    <a:gd name="T15" fmla="*/ 25 h 36"/>
                    <a:gd name="T16" fmla="*/ 20 w 20"/>
                    <a:gd name="T17" fmla="*/ 23 h 36"/>
                    <a:gd name="T18" fmla="*/ 13 w 20"/>
                    <a:gd name="T19" fmla="*/ 23 h 36"/>
                    <a:gd name="T20" fmla="*/ 13 w 20"/>
                    <a:gd name="T21" fmla="*/ 25 h 36"/>
                    <a:gd name="T22" fmla="*/ 12 w 20"/>
                    <a:gd name="T23" fmla="*/ 29 h 36"/>
                    <a:gd name="T24" fmla="*/ 10 w 20"/>
                    <a:gd name="T25" fmla="*/ 30 h 36"/>
                    <a:gd name="T26" fmla="*/ 7 w 20"/>
                    <a:gd name="T27" fmla="*/ 29 h 36"/>
                    <a:gd name="T28" fmla="*/ 7 w 20"/>
                    <a:gd name="T29" fmla="*/ 25 h 36"/>
                    <a:gd name="T30" fmla="*/ 7 w 20"/>
                    <a:gd name="T31" fmla="*/ 19 h 36"/>
                    <a:gd name="T32" fmla="*/ 20 w 20"/>
                    <a:gd name="T33" fmla="*/ 19 h 36"/>
                    <a:gd name="T34" fmla="*/ 20 w 20"/>
                    <a:gd name="T35" fmla="*/ 10 h 36"/>
                    <a:gd name="T36" fmla="*/ 17 w 20"/>
                    <a:gd name="T37" fmla="*/ 3 h 36"/>
                    <a:gd name="T38" fmla="*/ 10 w 20"/>
                    <a:gd name="T39" fmla="*/ 0 h 36"/>
                    <a:gd name="T40" fmla="*/ 13 w 20"/>
                    <a:gd name="T41" fmla="*/ 13 h 36"/>
                    <a:gd name="T42" fmla="*/ 7 w 20"/>
                    <a:gd name="T43" fmla="*/ 13 h 36"/>
                    <a:gd name="T44" fmla="*/ 7 w 20"/>
                    <a:gd name="T45" fmla="*/ 10 h 36"/>
                    <a:gd name="T46" fmla="*/ 7 w 20"/>
                    <a:gd name="T47" fmla="*/ 7 h 36"/>
                    <a:gd name="T48" fmla="*/ 10 w 20"/>
                    <a:gd name="T49" fmla="*/ 6 h 36"/>
                    <a:gd name="T50" fmla="*/ 12 w 20"/>
                    <a:gd name="T51" fmla="*/ 7 h 36"/>
                    <a:gd name="T52" fmla="*/ 13 w 20"/>
                    <a:gd name="T53" fmla="*/ 10 h 36"/>
                    <a:gd name="T54" fmla="*/ 13 w 20"/>
                    <a:gd name="T55"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36">
                      <a:moveTo>
                        <a:pt x="10" y="0"/>
                      </a:moveTo>
                      <a:cubicBezTo>
                        <a:pt x="7" y="0"/>
                        <a:pt x="4" y="1"/>
                        <a:pt x="3" y="3"/>
                      </a:cubicBezTo>
                      <a:cubicBezTo>
                        <a:pt x="1" y="5"/>
                        <a:pt x="0" y="7"/>
                        <a:pt x="0" y="10"/>
                      </a:cubicBezTo>
                      <a:cubicBezTo>
                        <a:pt x="0" y="25"/>
                        <a:pt x="0" y="25"/>
                        <a:pt x="0" y="25"/>
                      </a:cubicBezTo>
                      <a:cubicBezTo>
                        <a:pt x="0" y="28"/>
                        <a:pt x="1" y="31"/>
                        <a:pt x="2" y="33"/>
                      </a:cubicBezTo>
                      <a:cubicBezTo>
                        <a:pt x="4" y="35"/>
                        <a:pt x="6" y="36"/>
                        <a:pt x="9" y="36"/>
                      </a:cubicBezTo>
                      <a:cubicBezTo>
                        <a:pt x="13" y="36"/>
                        <a:pt x="15" y="35"/>
                        <a:pt x="17" y="33"/>
                      </a:cubicBezTo>
                      <a:cubicBezTo>
                        <a:pt x="19" y="31"/>
                        <a:pt x="20" y="29"/>
                        <a:pt x="20" y="25"/>
                      </a:cubicBezTo>
                      <a:cubicBezTo>
                        <a:pt x="20" y="23"/>
                        <a:pt x="20" y="23"/>
                        <a:pt x="20" y="23"/>
                      </a:cubicBezTo>
                      <a:cubicBezTo>
                        <a:pt x="13" y="23"/>
                        <a:pt x="13" y="23"/>
                        <a:pt x="13" y="23"/>
                      </a:cubicBezTo>
                      <a:cubicBezTo>
                        <a:pt x="13" y="25"/>
                        <a:pt x="13" y="25"/>
                        <a:pt x="13" y="25"/>
                      </a:cubicBezTo>
                      <a:cubicBezTo>
                        <a:pt x="13" y="27"/>
                        <a:pt x="12" y="28"/>
                        <a:pt x="12" y="29"/>
                      </a:cubicBezTo>
                      <a:cubicBezTo>
                        <a:pt x="11" y="29"/>
                        <a:pt x="11" y="30"/>
                        <a:pt x="10" y="30"/>
                      </a:cubicBezTo>
                      <a:cubicBezTo>
                        <a:pt x="8" y="30"/>
                        <a:pt x="8" y="29"/>
                        <a:pt x="7" y="29"/>
                      </a:cubicBezTo>
                      <a:cubicBezTo>
                        <a:pt x="7" y="28"/>
                        <a:pt x="7" y="27"/>
                        <a:pt x="7" y="25"/>
                      </a:cubicBezTo>
                      <a:cubicBezTo>
                        <a:pt x="7" y="19"/>
                        <a:pt x="7" y="19"/>
                        <a:pt x="7" y="19"/>
                      </a:cubicBezTo>
                      <a:cubicBezTo>
                        <a:pt x="20" y="19"/>
                        <a:pt x="20" y="19"/>
                        <a:pt x="20" y="19"/>
                      </a:cubicBezTo>
                      <a:cubicBezTo>
                        <a:pt x="20" y="10"/>
                        <a:pt x="20" y="10"/>
                        <a:pt x="20" y="10"/>
                      </a:cubicBezTo>
                      <a:cubicBezTo>
                        <a:pt x="20" y="7"/>
                        <a:pt x="19" y="4"/>
                        <a:pt x="17" y="3"/>
                      </a:cubicBezTo>
                      <a:cubicBezTo>
                        <a:pt x="15" y="1"/>
                        <a:pt x="13" y="0"/>
                        <a:pt x="10" y="0"/>
                      </a:cubicBezTo>
                      <a:close/>
                      <a:moveTo>
                        <a:pt x="13" y="13"/>
                      </a:moveTo>
                      <a:cubicBezTo>
                        <a:pt x="7" y="13"/>
                        <a:pt x="7" y="13"/>
                        <a:pt x="7" y="13"/>
                      </a:cubicBezTo>
                      <a:cubicBezTo>
                        <a:pt x="7" y="10"/>
                        <a:pt x="7" y="10"/>
                        <a:pt x="7" y="10"/>
                      </a:cubicBezTo>
                      <a:cubicBezTo>
                        <a:pt x="7" y="9"/>
                        <a:pt x="7" y="8"/>
                        <a:pt x="7" y="7"/>
                      </a:cubicBezTo>
                      <a:cubicBezTo>
                        <a:pt x="8" y="6"/>
                        <a:pt x="9" y="6"/>
                        <a:pt x="10" y="6"/>
                      </a:cubicBezTo>
                      <a:cubicBezTo>
                        <a:pt x="11" y="6"/>
                        <a:pt x="11" y="6"/>
                        <a:pt x="12" y="7"/>
                      </a:cubicBezTo>
                      <a:cubicBezTo>
                        <a:pt x="12" y="8"/>
                        <a:pt x="13" y="9"/>
                        <a:pt x="13" y="10"/>
                      </a:cubicBezTo>
                      <a:lnTo>
                        <a:pt x="13" y="13"/>
                      </a:lnTo>
                      <a:close/>
                    </a:path>
                  </a:pathLst>
                </a:custGeom>
                <a:grpFill/>
                <a:ln>
                  <a:noFill/>
                </a:ln>
              </p:spPr>
              <p:txBody>
                <a:bodyPr anchor="ctr"/>
                <a:lstStyle/>
                <a:p>
                  <a:pPr algn="ctr"/>
                  <a:endParaRPr/>
                </a:p>
              </p:txBody>
            </p:sp>
          </p:grpSp>
          <p:sp>
            <p:nvSpPr>
              <p:cNvPr id="27" name="íṣ1iḍé"/>
              <p:cNvSpPr/>
              <p:nvPr/>
            </p:nvSpPr>
            <p:spPr bwMode="auto">
              <a:xfrm>
                <a:off x="4887348" y="2863230"/>
                <a:ext cx="950036" cy="475896"/>
              </a:xfrm>
              <a:custGeom>
                <a:avLst/>
                <a:gdLst>
                  <a:gd name="T0" fmla="*/ 101 w 238"/>
                  <a:gd name="T1" fmla="*/ 35 h 119"/>
                  <a:gd name="T2" fmla="*/ 190 w 238"/>
                  <a:gd name="T3" fmla="*/ 50 h 119"/>
                  <a:gd name="T4" fmla="*/ 157 w 238"/>
                  <a:gd name="T5" fmla="*/ 59 h 119"/>
                  <a:gd name="T6" fmla="*/ 147 w 238"/>
                  <a:gd name="T7" fmla="*/ 41 h 119"/>
                  <a:gd name="T8" fmla="*/ 116 w 238"/>
                  <a:gd name="T9" fmla="*/ 41 h 119"/>
                  <a:gd name="T10" fmla="*/ 139 w 238"/>
                  <a:gd name="T11" fmla="*/ 87 h 119"/>
                  <a:gd name="T12" fmla="*/ 238 w 238"/>
                  <a:gd name="T13" fmla="*/ 59 h 119"/>
                  <a:gd name="T14" fmla="*/ 95 w 238"/>
                  <a:gd name="T15" fmla="*/ 21 h 119"/>
                  <a:gd name="T16" fmla="*/ 93 w 238"/>
                  <a:gd name="T17" fmla="*/ 21 h 119"/>
                  <a:gd name="T18" fmla="*/ 83 w 238"/>
                  <a:gd name="T19" fmla="*/ 0 h 119"/>
                  <a:gd name="T20" fmla="*/ 52 w 238"/>
                  <a:gd name="T21" fmla="*/ 4 h 119"/>
                  <a:gd name="T22" fmla="*/ 65 w 238"/>
                  <a:gd name="T23" fmla="*/ 29 h 119"/>
                  <a:gd name="T24" fmla="*/ 29 w 238"/>
                  <a:gd name="T25" fmla="*/ 119 h 119"/>
                  <a:gd name="T26" fmla="*/ 128 w 238"/>
                  <a:gd name="T27" fmla="*/ 91 h 119"/>
                  <a:gd name="T28" fmla="*/ 101 w 238"/>
                  <a:gd name="T29" fmla="*/ 35 h 119"/>
                  <a:gd name="T30" fmla="*/ 56 w 238"/>
                  <a:gd name="T31" fmla="*/ 86 h 119"/>
                  <a:gd name="T32" fmla="*/ 74 w 238"/>
                  <a:gd name="T33" fmla="*/ 47 h 119"/>
                  <a:gd name="T34" fmla="*/ 89 w 238"/>
                  <a:gd name="T35" fmla="*/ 78 h 119"/>
                  <a:gd name="T36" fmla="*/ 56 w 238"/>
                  <a:gd name="T37" fmla="*/ 8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8" h="119">
                    <a:moveTo>
                      <a:pt x="101" y="35"/>
                    </a:moveTo>
                    <a:cubicBezTo>
                      <a:pt x="149" y="21"/>
                      <a:pt x="190" y="50"/>
                      <a:pt x="190" y="50"/>
                    </a:cubicBezTo>
                    <a:cubicBezTo>
                      <a:pt x="157" y="59"/>
                      <a:pt x="157" y="59"/>
                      <a:pt x="157" y="59"/>
                    </a:cubicBezTo>
                    <a:cubicBezTo>
                      <a:pt x="147" y="41"/>
                      <a:pt x="147" y="41"/>
                      <a:pt x="147" y="41"/>
                    </a:cubicBezTo>
                    <a:cubicBezTo>
                      <a:pt x="138" y="40"/>
                      <a:pt x="127" y="39"/>
                      <a:pt x="116" y="41"/>
                    </a:cubicBezTo>
                    <a:cubicBezTo>
                      <a:pt x="139" y="87"/>
                      <a:pt x="139" y="87"/>
                      <a:pt x="139" y="87"/>
                    </a:cubicBezTo>
                    <a:cubicBezTo>
                      <a:pt x="238" y="59"/>
                      <a:pt x="238" y="59"/>
                      <a:pt x="238" y="59"/>
                    </a:cubicBezTo>
                    <a:cubicBezTo>
                      <a:pt x="238" y="59"/>
                      <a:pt x="202" y="3"/>
                      <a:pt x="95" y="21"/>
                    </a:cubicBezTo>
                    <a:cubicBezTo>
                      <a:pt x="95" y="21"/>
                      <a:pt x="94" y="21"/>
                      <a:pt x="93" y="21"/>
                    </a:cubicBezTo>
                    <a:cubicBezTo>
                      <a:pt x="83" y="0"/>
                      <a:pt x="83" y="0"/>
                      <a:pt x="83" y="0"/>
                    </a:cubicBezTo>
                    <a:cubicBezTo>
                      <a:pt x="52" y="4"/>
                      <a:pt x="52" y="4"/>
                      <a:pt x="52" y="4"/>
                    </a:cubicBezTo>
                    <a:cubicBezTo>
                      <a:pt x="65" y="29"/>
                      <a:pt x="65" y="29"/>
                      <a:pt x="65" y="29"/>
                    </a:cubicBezTo>
                    <a:cubicBezTo>
                      <a:pt x="0" y="56"/>
                      <a:pt x="29" y="119"/>
                      <a:pt x="29" y="119"/>
                    </a:cubicBezTo>
                    <a:cubicBezTo>
                      <a:pt x="128" y="91"/>
                      <a:pt x="128" y="91"/>
                      <a:pt x="128" y="91"/>
                    </a:cubicBezTo>
                    <a:lnTo>
                      <a:pt x="101" y="35"/>
                    </a:lnTo>
                    <a:close/>
                    <a:moveTo>
                      <a:pt x="56" y="86"/>
                    </a:moveTo>
                    <a:cubicBezTo>
                      <a:pt x="56" y="86"/>
                      <a:pt x="46" y="65"/>
                      <a:pt x="74" y="47"/>
                    </a:cubicBezTo>
                    <a:cubicBezTo>
                      <a:pt x="89" y="78"/>
                      <a:pt x="89" y="78"/>
                      <a:pt x="89" y="78"/>
                    </a:cubicBezTo>
                    <a:lnTo>
                      <a:pt x="56" y="86"/>
                    </a:lnTo>
                    <a:close/>
                  </a:path>
                </a:pathLst>
              </a:custGeom>
              <a:solidFill>
                <a:schemeClr val="bg2"/>
              </a:solidFill>
              <a:ln>
                <a:noFill/>
              </a:ln>
            </p:spPr>
            <p:txBody>
              <a:bodyPr anchor="ctr"/>
              <a:lstStyle/>
              <a:p>
                <a:pPr algn="ctr"/>
                <a:endParaRPr/>
              </a:p>
            </p:txBody>
          </p:sp>
          <p:sp>
            <p:nvSpPr>
              <p:cNvPr id="28" name="íṩḻïḍè"/>
              <p:cNvSpPr/>
              <p:nvPr/>
            </p:nvSpPr>
            <p:spPr bwMode="auto">
              <a:xfrm>
                <a:off x="6204409" y="2517261"/>
                <a:ext cx="830715" cy="800715"/>
              </a:xfrm>
              <a:custGeom>
                <a:avLst/>
                <a:gdLst>
                  <a:gd name="T0" fmla="*/ 0 w 208"/>
                  <a:gd name="T1" fmla="*/ 68 h 201"/>
                  <a:gd name="T2" fmla="*/ 8 w 208"/>
                  <a:gd name="T3" fmla="*/ 78 h 201"/>
                  <a:gd name="T4" fmla="*/ 31 w 208"/>
                  <a:gd name="T5" fmla="*/ 72 h 201"/>
                  <a:gd name="T6" fmla="*/ 64 w 208"/>
                  <a:gd name="T7" fmla="*/ 172 h 201"/>
                  <a:gd name="T8" fmla="*/ 106 w 208"/>
                  <a:gd name="T9" fmla="*/ 189 h 201"/>
                  <a:gd name="T10" fmla="*/ 197 w 208"/>
                  <a:gd name="T11" fmla="*/ 62 h 201"/>
                  <a:gd name="T12" fmla="*/ 114 w 208"/>
                  <a:gd name="T13" fmla="*/ 67 h 201"/>
                  <a:gd name="T14" fmla="*/ 137 w 208"/>
                  <a:gd name="T15" fmla="*/ 94 h 201"/>
                  <a:gd name="T16" fmla="*/ 109 w 208"/>
                  <a:gd name="T17" fmla="*/ 130 h 201"/>
                  <a:gd name="T18" fmla="*/ 93 w 208"/>
                  <a:gd name="T19" fmla="*/ 90 h 201"/>
                  <a:gd name="T20" fmla="*/ 60 w 208"/>
                  <a:gd name="T21" fmla="*/ 22 h 201"/>
                  <a:gd name="T22" fmla="*/ 0 w 208"/>
                  <a:gd name="T23" fmla="*/ 6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 h="201">
                    <a:moveTo>
                      <a:pt x="0" y="68"/>
                    </a:moveTo>
                    <a:cubicBezTo>
                      <a:pt x="8" y="78"/>
                      <a:pt x="8" y="78"/>
                      <a:pt x="8" y="78"/>
                    </a:cubicBezTo>
                    <a:cubicBezTo>
                      <a:pt x="8" y="78"/>
                      <a:pt x="25" y="65"/>
                      <a:pt x="31" y="72"/>
                    </a:cubicBezTo>
                    <a:cubicBezTo>
                      <a:pt x="36" y="78"/>
                      <a:pt x="57" y="157"/>
                      <a:pt x="64" y="172"/>
                    </a:cubicBezTo>
                    <a:cubicBezTo>
                      <a:pt x="70" y="184"/>
                      <a:pt x="87" y="201"/>
                      <a:pt x="106" y="189"/>
                    </a:cubicBezTo>
                    <a:cubicBezTo>
                      <a:pt x="125" y="177"/>
                      <a:pt x="186" y="124"/>
                      <a:pt x="197" y="62"/>
                    </a:cubicBezTo>
                    <a:cubicBezTo>
                      <a:pt x="208" y="0"/>
                      <a:pt x="123" y="13"/>
                      <a:pt x="114" y="67"/>
                    </a:cubicBezTo>
                    <a:cubicBezTo>
                      <a:pt x="137" y="54"/>
                      <a:pt x="149" y="73"/>
                      <a:pt x="137" y="94"/>
                    </a:cubicBezTo>
                    <a:cubicBezTo>
                      <a:pt x="126" y="116"/>
                      <a:pt x="115" y="130"/>
                      <a:pt x="109" y="130"/>
                    </a:cubicBezTo>
                    <a:cubicBezTo>
                      <a:pt x="104" y="130"/>
                      <a:pt x="100" y="116"/>
                      <a:pt x="93" y="90"/>
                    </a:cubicBezTo>
                    <a:cubicBezTo>
                      <a:pt x="87" y="64"/>
                      <a:pt x="87" y="17"/>
                      <a:pt x="60" y="22"/>
                    </a:cubicBezTo>
                    <a:cubicBezTo>
                      <a:pt x="34" y="27"/>
                      <a:pt x="0" y="68"/>
                      <a:pt x="0" y="68"/>
                    </a:cubicBezTo>
                    <a:close/>
                  </a:path>
                </a:pathLst>
              </a:custGeom>
              <a:solidFill>
                <a:schemeClr val="bg2"/>
              </a:solidFill>
              <a:ln>
                <a:noFill/>
              </a:ln>
            </p:spPr>
            <p:txBody>
              <a:bodyPr anchor="ctr"/>
              <a:lstStyle/>
              <a:p>
                <a:pPr algn="ctr"/>
                <a:endParaRPr/>
              </a:p>
            </p:txBody>
          </p:sp>
          <p:sp>
            <p:nvSpPr>
              <p:cNvPr id="29" name="íSḻîḋè"/>
              <p:cNvSpPr/>
              <p:nvPr/>
            </p:nvSpPr>
            <p:spPr bwMode="auto">
              <a:xfrm>
                <a:off x="8210806" y="1767713"/>
                <a:ext cx="464004" cy="462115"/>
              </a:xfrm>
              <a:custGeom>
                <a:avLst/>
                <a:gdLst>
                  <a:gd name="T0" fmla="*/ 168 w 175"/>
                  <a:gd name="T1" fmla="*/ 53 h 174"/>
                  <a:gd name="T2" fmla="*/ 149 w 175"/>
                  <a:gd name="T3" fmla="*/ 25 h 174"/>
                  <a:gd name="T4" fmla="*/ 121 w 175"/>
                  <a:gd name="T5" fmla="*/ 6 h 174"/>
                  <a:gd name="T6" fmla="*/ 87 w 175"/>
                  <a:gd name="T7" fmla="*/ 0 h 174"/>
                  <a:gd name="T8" fmla="*/ 53 w 175"/>
                  <a:gd name="T9" fmla="*/ 6 h 174"/>
                  <a:gd name="T10" fmla="*/ 26 w 175"/>
                  <a:gd name="T11" fmla="*/ 25 h 174"/>
                  <a:gd name="T12" fmla="*/ 7 w 175"/>
                  <a:gd name="T13" fmla="*/ 53 h 174"/>
                  <a:gd name="T14" fmla="*/ 0 w 175"/>
                  <a:gd name="T15" fmla="*/ 87 h 174"/>
                  <a:gd name="T16" fmla="*/ 7 w 175"/>
                  <a:gd name="T17" fmla="*/ 121 h 174"/>
                  <a:gd name="T18" fmla="*/ 26 w 175"/>
                  <a:gd name="T19" fmla="*/ 149 h 174"/>
                  <a:gd name="T20" fmla="*/ 53 w 175"/>
                  <a:gd name="T21" fmla="*/ 167 h 174"/>
                  <a:gd name="T22" fmla="*/ 87 w 175"/>
                  <a:gd name="T23" fmla="*/ 174 h 174"/>
                  <a:gd name="T24" fmla="*/ 121 w 175"/>
                  <a:gd name="T25" fmla="*/ 167 h 174"/>
                  <a:gd name="T26" fmla="*/ 149 w 175"/>
                  <a:gd name="T27" fmla="*/ 149 h 174"/>
                  <a:gd name="T28" fmla="*/ 168 w 175"/>
                  <a:gd name="T29" fmla="*/ 121 h 174"/>
                  <a:gd name="T30" fmla="*/ 175 w 175"/>
                  <a:gd name="T31" fmla="*/ 87 h 174"/>
                  <a:gd name="T32" fmla="*/ 162 w 175"/>
                  <a:gd name="T33" fmla="*/ 86 h 174"/>
                  <a:gd name="T34" fmla="*/ 108 w 175"/>
                  <a:gd name="T35" fmla="*/ 80 h 174"/>
                  <a:gd name="T36" fmla="*/ 145 w 175"/>
                  <a:gd name="T37" fmla="*/ 40 h 174"/>
                  <a:gd name="T38" fmla="*/ 137 w 175"/>
                  <a:gd name="T39" fmla="*/ 31 h 174"/>
                  <a:gd name="T40" fmla="*/ 70 w 175"/>
                  <a:gd name="T41" fmla="*/ 14 h 174"/>
                  <a:gd name="T42" fmla="*/ 137 w 175"/>
                  <a:gd name="T43" fmla="*/ 31 h 174"/>
                  <a:gd name="T44" fmla="*/ 70 w 175"/>
                  <a:gd name="T45" fmla="*/ 14 h 174"/>
                  <a:gd name="T46" fmla="*/ 70 w 175"/>
                  <a:gd name="T47" fmla="*/ 14 h 174"/>
                  <a:gd name="T48" fmla="*/ 83 w 175"/>
                  <a:gd name="T49" fmla="*/ 62 h 174"/>
                  <a:gd name="T50" fmla="*/ 56 w 175"/>
                  <a:gd name="T51" fmla="*/ 19 h 174"/>
                  <a:gd name="T52" fmla="*/ 13 w 175"/>
                  <a:gd name="T53" fmla="*/ 85 h 174"/>
                  <a:gd name="T54" fmla="*/ 96 w 175"/>
                  <a:gd name="T55" fmla="*/ 87 h 174"/>
                  <a:gd name="T56" fmla="*/ 32 w 175"/>
                  <a:gd name="T57" fmla="*/ 137 h 174"/>
                  <a:gd name="T58" fmla="*/ 13 w 175"/>
                  <a:gd name="T59" fmla="*/ 87 h 174"/>
                  <a:gd name="T60" fmla="*/ 40 w 175"/>
                  <a:gd name="T61" fmla="*/ 144 h 174"/>
                  <a:gd name="T62" fmla="*/ 100 w 175"/>
                  <a:gd name="T63" fmla="*/ 99 h 174"/>
                  <a:gd name="T64" fmla="*/ 117 w 175"/>
                  <a:gd name="T65" fmla="*/ 156 h 174"/>
                  <a:gd name="T66" fmla="*/ 129 w 175"/>
                  <a:gd name="T67" fmla="*/ 149 h 174"/>
                  <a:gd name="T68" fmla="*/ 161 w 175"/>
                  <a:gd name="T69" fmla="*/ 9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174">
                    <a:moveTo>
                      <a:pt x="173" y="69"/>
                    </a:moveTo>
                    <a:cubicBezTo>
                      <a:pt x="172" y="64"/>
                      <a:pt x="170" y="58"/>
                      <a:pt x="168" y="53"/>
                    </a:cubicBezTo>
                    <a:cubicBezTo>
                      <a:pt x="166" y="48"/>
                      <a:pt x="163" y="43"/>
                      <a:pt x="160" y="38"/>
                    </a:cubicBezTo>
                    <a:cubicBezTo>
                      <a:pt x="157" y="33"/>
                      <a:pt x="153" y="29"/>
                      <a:pt x="149" y="25"/>
                    </a:cubicBezTo>
                    <a:cubicBezTo>
                      <a:pt x="145" y="21"/>
                      <a:pt x="141" y="18"/>
                      <a:pt x="136" y="14"/>
                    </a:cubicBezTo>
                    <a:cubicBezTo>
                      <a:pt x="132" y="11"/>
                      <a:pt x="127" y="9"/>
                      <a:pt x="121" y="6"/>
                    </a:cubicBezTo>
                    <a:cubicBezTo>
                      <a:pt x="116" y="4"/>
                      <a:pt x="111" y="2"/>
                      <a:pt x="105" y="1"/>
                    </a:cubicBezTo>
                    <a:cubicBezTo>
                      <a:pt x="99" y="0"/>
                      <a:pt x="93" y="0"/>
                      <a:pt x="87" y="0"/>
                    </a:cubicBezTo>
                    <a:cubicBezTo>
                      <a:pt x="82" y="0"/>
                      <a:pt x="76" y="0"/>
                      <a:pt x="70" y="1"/>
                    </a:cubicBezTo>
                    <a:cubicBezTo>
                      <a:pt x="64" y="2"/>
                      <a:pt x="59" y="4"/>
                      <a:pt x="53" y="6"/>
                    </a:cubicBezTo>
                    <a:cubicBezTo>
                      <a:pt x="48" y="9"/>
                      <a:pt x="43" y="11"/>
                      <a:pt x="39" y="14"/>
                    </a:cubicBezTo>
                    <a:cubicBezTo>
                      <a:pt x="34" y="18"/>
                      <a:pt x="30" y="21"/>
                      <a:pt x="26" y="25"/>
                    </a:cubicBezTo>
                    <a:cubicBezTo>
                      <a:pt x="22" y="29"/>
                      <a:pt x="18" y="33"/>
                      <a:pt x="15" y="38"/>
                    </a:cubicBezTo>
                    <a:cubicBezTo>
                      <a:pt x="12" y="43"/>
                      <a:pt x="9" y="48"/>
                      <a:pt x="7" y="53"/>
                    </a:cubicBezTo>
                    <a:cubicBezTo>
                      <a:pt x="5" y="58"/>
                      <a:pt x="3" y="64"/>
                      <a:pt x="2" y="69"/>
                    </a:cubicBezTo>
                    <a:cubicBezTo>
                      <a:pt x="1" y="75"/>
                      <a:pt x="0" y="81"/>
                      <a:pt x="0" y="87"/>
                    </a:cubicBezTo>
                    <a:cubicBezTo>
                      <a:pt x="0" y="93"/>
                      <a:pt x="1" y="99"/>
                      <a:pt x="2" y="105"/>
                    </a:cubicBezTo>
                    <a:cubicBezTo>
                      <a:pt x="3" y="110"/>
                      <a:pt x="5" y="116"/>
                      <a:pt x="7" y="121"/>
                    </a:cubicBezTo>
                    <a:cubicBezTo>
                      <a:pt x="9" y="126"/>
                      <a:pt x="12" y="131"/>
                      <a:pt x="15" y="136"/>
                    </a:cubicBezTo>
                    <a:cubicBezTo>
                      <a:pt x="18" y="140"/>
                      <a:pt x="22" y="145"/>
                      <a:pt x="26" y="149"/>
                    </a:cubicBezTo>
                    <a:cubicBezTo>
                      <a:pt x="30" y="153"/>
                      <a:pt x="34" y="156"/>
                      <a:pt x="39" y="159"/>
                    </a:cubicBezTo>
                    <a:cubicBezTo>
                      <a:pt x="43" y="163"/>
                      <a:pt x="48" y="165"/>
                      <a:pt x="53" y="167"/>
                    </a:cubicBezTo>
                    <a:cubicBezTo>
                      <a:pt x="59" y="170"/>
                      <a:pt x="64" y="171"/>
                      <a:pt x="70" y="173"/>
                    </a:cubicBezTo>
                    <a:cubicBezTo>
                      <a:pt x="76" y="174"/>
                      <a:pt x="82" y="174"/>
                      <a:pt x="87" y="174"/>
                    </a:cubicBezTo>
                    <a:cubicBezTo>
                      <a:pt x="93" y="174"/>
                      <a:pt x="99" y="174"/>
                      <a:pt x="105" y="173"/>
                    </a:cubicBezTo>
                    <a:cubicBezTo>
                      <a:pt x="111" y="171"/>
                      <a:pt x="116" y="170"/>
                      <a:pt x="121" y="167"/>
                    </a:cubicBezTo>
                    <a:cubicBezTo>
                      <a:pt x="127" y="165"/>
                      <a:pt x="132" y="163"/>
                      <a:pt x="136" y="159"/>
                    </a:cubicBezTo>
                    <a:cubicBezTo>
                      <a:pt x="141" y="156"/>
                      <a:pt x="145" y="153"/>
                      <a:pt x="149" y="149"/>
                    </a:cubicBezTo>
                    <a:cubicBezTo>
                      <a:pt x="153" y="145"/>
                      <a:pt x="157" y="140"/>
                      <a:pt x="160" y="136"/>
                    </a:cubicBezTo>
                    <a:cubicBezTo>
                      <a:pt x="163" y="131"/>
                      <a:pt x="166" y="126"/>
                      <a:pt x="168" y="121"/>
                    </a:cubicBezTo>
                    <a:cubicBezTo>
                      <a:pt x="170" y="116"/>
                      <a:pt x="172" y="110"/>
                      <a:pt x="173" y="105"/>
                    </a:cubicBezTo>
                    <a:cubicBezTo>
                      <a:pt x="174" y="99"/>
                      <a:pt x="175" y="93"/>
                      <a:pt x="175" y="87"/>
                    </a:cubicBezTo>
                    <a:cubicBezTo>
                      <a:pt x="175" y="81"/>
                      <a:pt x="174" y="75"/>
                      <a:pt x="173" y="69"/>
                    </a:cubicBezTo>
                    <a:close/>
                    <a:moveTo>
                      <a:pt x="162" y="86"/>
                    </a:moveTo>
                    <a:cubicBezTo>
                      <a:pt x="161" y="86"/>
                      <a:pt x="136" y="81"/>
                      <a:pt x="110" y="84"/>
                    </a:cubicBezTo>
                    <a:cubicBezTo>
                      <a:pt x="110" y="82"/>
                      <a:pt x="109" y="81"/>
                      <a:pt x="108" y="80"/>
                    </a:cubicBezTo>
                    <a:cubicBezTo>
                      <a:pt x="107" y="76"/>
                      <a:pt x="105" y="73"/>
                      <a:pt x="104" y="69"/>
                    </a:cubicBezTo>
                    <a:cubicBezTo>
                      <a:pt x="133" y="57"/>
                      <a:pt x="145" y="40"/>
                      <a:pt x="145" y="40"/>
                    </a:cubicBezTo>
                    <a:cubicBezTo>
                      <a:pt x="156" y="52"/>
                      <a:pt x="162" y="68"/>
                      <a:pt x="162" y="86"/>
                    </a:cubicBezTo>
                    <a:close/>
                    <a:moveTo>
                      <a:pt x="137" y="31"/>
                    </a:moveTo>
                    <a:cubicBezTo>
                      <a:pt x="137" y="31"/>
                      <a:pt x="126" y="47"/>
                      <a:pt x="98" y="58"/>
                    </a:cubicBezTo>
                    <a:cubicBezTo>
                      <a:pt x="85" y="35"/>
                      <a:pt x="71" y="16"/>
                      <a:pt x="70" y="14"/>
                    </a:cubicBezTo>
                    <a:cubicBezTo>
                      <a:pt x="76" y="13"/>
                      <a:pt x="81" y="12"/>
                      <a:pt x="87" y="12"/>
                    </a:cubicBezTo>
                    <a:cubicBezTo>
                      <a:pt x="106" y="12"/>
                      <a:pt x="124" y="19"/>
                      <a:pt x="137" y="31"/>
                    </a:cubicBezTo>
                    <a:close/>
                    <a:moveTo>
                      <a:pt x="70" y="14"/>
                    </a:moveTo>
                    <a:cubicBezTo>
                      <a:pt x="70" y="14"/>
                      <a:pt x="70" y="14"/>
                      <a:pt x="70" y="14"/>
                    </a:cubicBezTo>
                    <a:cubicBezTo>
                      <a:pt x="70" y="14"/>
                      <a:pt x="69" y="15"/>
                      <a:pt x="69" y="15"/>
                    </a:cubicBezTo>
                    <a:cubicBezTo>
                      <a:pt x="69" y="15"/>
                      <a:pt x="70" y="15"/>
                      <a:pt x="70" y="14"/>
                    </a:cubicBezTo>
                    <a:close/>
                    <a:moveTo>
                      <a:pt x="56" y="19"/>
                    </a:moveTo>
                    <a:cubicBezTo>
                      <a:pt x="57" y="21"/>
                      <a:pt x="70" y="39"/>
                      <a:pt x="83" y="62"/>
                    </a:cubicBezTo>
                    <a:cubicBezTo>
                      <a:pt x="47" y="72"/>
                      <a:pt x="16" y="72"/>
                      <a:pt x="14" y="72"/>
                    </a:cubicBezTo>
                    <a:cubicBezTo>
                      <a:pt x="19" y="48"/>
                      <a:pt x="35" y="29"/>
                      <a:pt x="56" y="19"/>
                    </a:cubicBezTo>
                    <a:close/>
                    <a:moveTo>
                      <a:pt x="13" y="87"/>
                    </a:moveTo>
                    <a:cubicBezTo>
                      <a:pt x="13" y="86"/>
                      <a:pt x="13" y="85"/>
                      <a:pt x="13" y="85"/>
                    </a:cubicBezTo>
                    <a:cubicBezTo>
                      <a:pt x="14" y="85"/>
                      <a:pt x="51" y="85"/>
                      <a:pt x="90" y="74"/>
                    </a:cubicBezTo>
                    <a:cubicBezTo>
                      <a:pt x="92" y="78"/>
                      <a:pt x="94" y="82"/>
                      <a:pt x="96" y="87"/>
                    </a:cubicBezTo>
                    <a:cubicBezTo>
                      <a:pt x="95" y="87"/>
                      <a:pt x="94" y="87"/>
                      <a:pt x="93" y="88"/>
                    </a:cubicBezTo>
                    <a:cubicBezTo>
                      <a:pt x="52" y="101"/>
                      <a:pt x="32" y="137"/>
                      <a:pt x="32" y="137"/>
                    </a:cubicBezTo>
                    <a:cubicBezTo>
                      <a:pt x="32" y="137"/>
                      <a:pt x="32" y="137"/>
                      <a:pt x="32" y="137"/>
                    </a:cubicBezTo>
                    <a:cubicBezTo>
                      <a:pt x="20" y="124"/>
                      <a:pt x="13" y="106"/>
                      <a:pt x="13" y="87"/>
                    </a:cubicBezTo>
                    <a:close/>
                    <a:moveTo>
                      <a:pt x="87" y="162"/>
                    </a:moveTo>
                    <a:cubicBezTo>
                      <a:pt x="69" y="162"/>
                      <a:pt x="53" y="155"/>
                      <a:pt x="40" y="144"/>
                    </a:cubicBezTo>
                    <a:cubicBezTo>
                      <a:pt x="41" y="145"/>
                      <a:pt x="42" y="146"/>
                      <a:pt x="42" y="146"/>
                    </a:cubicBezTo>
                    <a:cubicBezTo>
                      <a:pt x="42" y="146"/>
                      <a:pt x="56" y="115"/>
                      <a:pt x="100" y="99"/>
                    </a:cubicBezTo>
                    <a:cubicBezTo>
                      <a:pt x="100" y="99"/>
                      <a:pt x="100" y="99"/>
                      <a:pt x="101" y="99"/>
                    </a:cubicBezTo>
                    <a:cubicBezTo>
                      <a:pt x="111" y="126"/>
                      <a:pt x="115" y="149"/>
                      <a:pt x="117" y="156"/>
                    </a:cubicBezTo>
                    <a:cubicBezTo>
                      <a:pt x="108" y="159"/>
                      <a:pt x="98" y="162"/>
                      <a:pt x="87" y="162"/>
                    </a:cubicBezTo>
                    <a:close/>
                    <a:moveTo>
                      <a:pt x="129" y="149"/>
                    </a:moveTo>
                    <a:cubicBezTo>
                      <a:pt x="128" y="144"/>
                      <a:pt x="124" y="122"/>
                      <a:pt x="115" y="96"/>
                    </a:cubicBezTo>
                    <a:cubicBezTo>
                      <a:pt x="139" y="92"/>
                      <a:pt x="160" y="98"/>
                      <a:pt x="161" y="99"/>
                    </a:cubicBezTo>
                    <a:cubicBezTo>
                      <a:pt x="158" y="120"/>
                      <a:pt x="146" y="138"/>
                      <a:pt x="129" y="149"/>
                    </a:cubicBezTo>
                    <a:close/>
                  </a:path>
                </a:pathLst>
              </a:custGeom>
              <a:solidFill>
                <a:schemeClr val="bg2"/>
              </a:solidFill>
              <a:ln>
                <a:noFill/>
              </a:ln>
            </p:spPr>
            <p:txBody>
              <a:bodyPr anchor="ctr"/>
              <a:lstStyle/>
              <a:p>
                <a:pPr algn="ctr"/>
                <a:endParaRPr/>
              </a:p>
            </p:txBody>
          </p:sp>
          <p:sp>
            <p:nvSpPr>
              <p:cNvPr id="30" name="îṩ1îḋê"/>
              <p:cNvSpPr/>
              <p:nvPr/>
            </p:nvSpPr>
            <p:spPr bwMode="auto">
              <a:xfrm>
                <a:off x="5181483" y="4640045"/>
                <a:ext cx="910766" cy="906470"/>
              </a:xfrm>
              <a:custGeom>
                <a:avLst/>
                <a:gdLst>
                  <a:gd name="T0" fmla="*/ 114 w 228"/>
                  <a:gd name="T1" fmla="*/ 0 h 227"/>
                  <a:gd name="T2" fmla="*/ 0 w 228"/>
                  <a:gd name="T3" fmla="*/ 114 h 227"/>
                  <a:gd name="T4" fmla="*/ 68 w 228"/>
                  <a:gd name="T5" fmla="*/ 218 h 227"/>
                  <a:gd name="T6" fmla="*/ 70 w 228"/>
                  <a:gd name="T7" fmla="*/ 192 h 227"/>
                  <a:gd name="T8" fmla="*/ 85 w 228"/>
                  <a:gd name="T9" fmla="*/ 130 h 227"/>
                  <a:gd name="T10" fmla="*/ 81 w 228"/>
                  <a:gd name="T11" fmla="*/ 112 h 227"/>
                  <a:gd name="T12" fmla="*/ 103 w 228"/>
                  <a:gd name="T13" fmla="*/ 82 h 227"/>
                  <a:gd name="T14" fmla="*/ 119 w 228"/>
                  <a:gd name="T15" fmla="*/ 99 h 227"/>
                  <a:gd name="T16" fmla="*/ 109 w 228"/>
                  <a:gd name="T17" fmla="*/ 140 h 227"/>
                  <a:gd name="T18" fmla="*/ 127 w 228"/>
                  <a:gd name="T19" fmla="*/ 162 h 227"/>
                  <a:gd name="T20" fmla="*/ 163 w 228"/>
                  <a:gd name="T21" fmla="*/ 101 h 227"/>
                  <a:gd name="T22" fmla="*/ 115 w 228"/>
                  <a:gd name="T23" fmla="*/ 57 h 227"/>
                  <a:gd name="T24" fmla="*/ 59 w 228"/>
                  <a:gd name="T25" fmla="*/ 112 h 227"/>
                  <a:gd name="T26" fmla="*/ 67 w 228"/>
                  <a:gd name="T27" fmla="*/ 134 h 227"/>
                  <a:gd name="T28" fmla="*/ 68 w 228"/>
                  <a:gd name="T29" fmla="*/ 141 h 227"/>
                  <a:gd name="T30" fmla="*/ 66 w 228"/>
                  <a:gd name="T31" fmla="*/ 150 h 227"/>
                  <a:gd name="T32" fmla="*/ 60 w 228"/>
                  <a:gd name="T33" fmla="*/ 153 h 227"/>
                  <a:gd name="T34" fmla="*/ 37 w 228"/>
                  <a:gd name="T35" fmla="*/ 109 h 227"/>
                  <a:gd name="T36" fmla="*/ 118 w 228"/>
                  <a:gd name="T37" fmla="*/ 38 h 227"/>
                  <a:gd name="T38" fmla="*/ 191 w 228"/>
                  <a:gd name="T39" fmla="*/ 103 h 227"/>
                  <a:gd name="T40" fmla="*/ 129 w 228"/>
                  <a:gd name="T41" fmla="*/ 181 h 227"/>
                  <a:gd name="T42" fmla="*/ 101 w 228"/>
                  <a:gd name="T43" fmla="*/ 167 h 227"/>
                  <a:gd name="T44" fmla="*/ 93 w 228"/>
                  <a:gd name="T45" fmla="*/ 198 h 227"/>
                  <a:gd name="T46" fmla="*/ 82 w 228"/>
                  <a:gd name="T47" fmla="*/ 223 h 227"/>
                  <a:gd name="T48" fmla="*/ 114 w 228"/>
                  <a:gd name="T49" fmla="*/ 227 h 227"/>
                  <a:gd name="T50" fmla="*/ 228 w 228"/>
                  <a:gd name="T51" fmla="*/ 114 h 227"/>
                  <a:gd name="T52" fmla="*/ 114 w 228"/>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27">
                    <a:moveTo>
                      <a:pt x="114" y="0"/>
                    </a:moveTo>
                    <a:cubicBezTo>
                      <a:pt x="51" y="0"/>
                      <a:pt x="0" y="51"/>
                      <a:pt x="0" y="114"/>
                    </a:cubicBezTo>
                    <a:cubicBezTo>
                      <a:pt x="0" y="160"/>
                      <a:pt x="28" y="200"/>
                      <a:pt x="68" y="218"/>
                    </a:cubicBezTo>
                    <a:cubicBezTo>
                      <a:pt x="68" y="210"/>
                      <a:pt x="68" y="200"/>
                      <a:pt x="70" y="192"/>
                    </a:cubicBezTo>
                    <a:cubicBezTo>
                      <a:pt x="73" y="183"/>
                      <a:pt x="85" y="130"/>
                      <a:pt x="85" y="130"/>
                    </a:cubicBezTo>
                    <a:cubicBezTo>
                      <a:pt x="85" y="130"/>
                      <a:pt x="81" y="122"/>
                      <a:pt x="81" y="112"/>
                    </a:cubicBezTo>
                    <a:cubicBezTo>
                      <a:pt x="81" y="95"/>
                      <a:pt x="91" y="82"/>
                      <a:pt x="103" y="82"/>
                    </a:cubicBezTo>
                    <a:cubicBezTo>
                      <a:pt x="114" y="82"/>
                      <a:pt x="119" y="90"/>
                      <a:pt x="119" y="99"/>
                    </a:cubicBezTo>
                    <a:cubicBezTo>
                      <a:pt x="119" y="110"/>
                      <a:pt x="112" y="125"/>
                      <a:pt x="109" y="140"/>
                    </a:cubicBezTo>
                    <a:cubicBezTo>
                      <a:pt x="106" y="152"/>
                      <a:pt x="115" y="162"/>
                      <a:pt x="127" y="162"/>
                    </a:cubicBezTo>
                    <a:cubicBezTo>
                      <a:pt x="148" y="162"/>
                      <a:pt x="163" y="134"/>
                      <a:pt x="163" y="101"/>
                    </a:cubicBezTo>
                    <a:cubicBezTo>
                      <a:pt x="163" y="76"/>
                      <a:pt x="146" y="57"/>
                      <a:pt x="115" y="57"/>
                    </a:cubicBezTo>
                    <a:cubicBezTo>
                      <a:pt x="81" y="57"/>
                      <a:pt x="59" y="83"/>
                      <a:pt x="59" y="112"/>
                    </a:cubicBezTo>
                    <a:cubicBezTo>
                      <a:pt x="59" y="122"/>
                      <a:pt x="62" y="129"/>
                      <a:pt x="67" y="134"/>
                    </a:cubicBezTo>
                    <a:cubicBezTo>
                      <a:pt x="69" y="137"/>
                      <a:pt x="69" y="138"/>
                      <a:pt x="68" y="141"/>
                    </a:cubicBezTo>
                    <a:cubicBezTo>
                      <a:pt x="68" y="143"/>
                      <a:pt x="67" y="148"/>
                      <a:pt x="66" y="150"/>
                    </a:cubicBezTo>
                    <a:cubicBezTo>
                      <a:pt x="65" y="153"/>
                      <a:pt x="63" y="154"/>
                      <a:pt x="60" y="153"/>
                    </a:cubicBezTo>
                    <a:cubicBezTo>
                      <a:pt x="44" y="146"/>
                      <a:pt x="37" y="129"/>
                      <a:pt x="37" y="109"/>
                    </a:cubicBezTo>
                    <a:cubicBezTo>
                      <a:pt x="37" y="77"/>
                      <a:pt x="64" y="38"/>
                      <a:pt x="118" y="38"/>
                    </a:cubicBezTo>
                    <a:cubicBezTo>
                      <a:pt x="162" y="38"/>
                      <a:pt x="191" y="70"/>
                      <a:pt x="191" y="103"/>
                    </a:cubicBezTo>
                    <a:cubicBezTo>
                      <a:pt x="191" y="148"/>
                      <a:pt x="166" y="181"/>
                      <a:pt x="129" y="181"/>
                    </a:cubicBezTo>
                    <a:cubicBezTo>
                      <a:pt x="117" y="181"/>
                      <a:pt x="105" y="175"/>
                      <a:pt x="101" y="167"/>
                    </a:cubicBezTo>
                    <a:cubicBezTo>
                      <a:pt x="101" y="167"/>
                      <a:pt x="95" y="193"/>
                      <a:pt x="93" y="198"/>
                    </a:cubicBezTo>
                    <a:cubicBezTo>
                      <a:pt x="91" y="207"/>
                      <a:pt x="86" y="216"/>
                      <a:pt x="82" y="223"/>
                    </a:cubicBezTo>
                    <a:cubicBezTo>
                      <a:pt x="92" y="226"/>
                      <a:pt x="103" y="227"/>
                      <a:pt x="114" y="227"/>
                    </a:cubicBezTo>
                    <a:cubicBezTo>
                      <a:pt x="177" y="227"/>
                      <a:pt x="228" y="176"/>
                      <a:pt x="228" y="114"/>
                    </a:cubicBezTo>
                    <a:cubicBezTo>
                      <a:pt x="228" y="51"/>
                      <a:pt x="177" y="0"/>
                      <a:pt x="114" y="0"/>
                    </a:cubicBezTo>
                    <a:close/>
                  </a:path>
                </a:pathLst>
              </a:custGeom>
              <a:solidFill>
                <a:schemeClr val="bg2"/>
              </a:solidFill>
              <a:ln>
                <a:noFill/>
              </a:ln>
            </p:spPr>
            <p:txBody>
              <a:bodyPr anchor="ctr"/>
              <a:lstStyle/>
              <a:p>
                <a:pPr algn="ctr"/>
                <a:endParaRPr/>
              </a:p>
            </p:txBody>
          </p:sp>
          <p:sp>
            <p:nvSpPr>
              <p:cNvPr id="31" name="iṡľíḓe"/>
              <p:cNvSpPr/>
              <p:nvPr/>
            </p:nvSpPr>
            <p:spPr bwMode="auto">
              <a:xfrm>
                <a:off x="7944073" y="2407562"/>
                <a:ext cx="814100" cy="812802"/>
              </a:xfrm>
              <a:custGeom>
                <a:avLst/>
                <a:gdLst>
                  <a:gd name="T0" fmla="*/ 164 w 204"/>
                  <a:gd name="T1" fmla="*/ 0 h 204"/>
                  <a:gd name="T2" fmla="*/ 39 w 204"/>
                  <a:gd name="T3" fmla="*/ 0 h 204"/>
                  <a:gd name="T4" fmla="*/ 0 w 204"/>
                  <a:gd name="T5" fmla="*/ 39 h 204"/>
                  <a:gd name="T6" fmla="*/ 0 w 204"/>
                  <a:gd name="T7" fmla="*/ 81 h 204"/>
                  <a:gd name="T8" fmla="*/ 0 w 204"/>
                  <a:gd name="T9" fmla="*/ 164 h 204"/>
                  <a:gd name="T10" fmla="*/ 39 w 204"/>
                  <a:gd name="T11" fmla="*/ 204 h 204"/>
                  <a:gd name="T12" fmla="*/ 164 w 204"/>
                  <a:gd name="T13" fmla="*/ 204 h 204"/>
                  <a:gd name="T14" fmla="*/ 204 w 204"/>
                  <a:gd name="T15" fmla="*/ 164 h 204"/>
                  <a:gd name="T16" fmla="*/ 204 w 204"/>
                  <a:gd name="T17" fmla="*/ 81 h 204"/>
                  <a:gd name="T18" fmla="*/ 204 w 204"/>
                  <a:gd name="T19" fmla="*/ 39 h 204"/>
                  <a:gd name="T20" fmla="*/ 164 w 204"/>
                  <a:gd name="T21" fmla="*/ 0 h 204"/>
                  <a:gd name="T22" fmla="*/ 176 w 204"/>
                  <a:gd name="T23" fmla="*/ 23 h 204"/>
                  <a:gd name="T24" fmla="*/ 180 w 204"/>
                  <a:gd name="T25" fmla="*/ 23 h 204"/>
                  <a:gd name="T26" fmla="*/ 180 w 204"/>
                  <a:gd name="T27" fmla="*/ 28 h 204"/>
                  <a:gd name="T28" fmla="*/ 180 w 204"/>
                  <a:gd name="T29" fmla="*/ 58 h 204"/>
                  <a:gd name="T30" fmla="*/ 146 w 204"/>
                  <a:gd name="T31" fmla="*/ 58 h 204"/>
                  <a:gd name="T32" fmla="*/ 146 w 204"/>
                  <a:gd name="T33" fmla="*/ 24 h 204"/>
                  <a:gd name="T34" fmla="*/ 176 w 204"/>
                  <a:gd name="T35" fmla="*/ 23 h 204"/>
                  <a:gd name="T36" fmla="*/ 73 w 204"/>
                  <a:gd name="T37" fmla="*/ 81 h 204"/>
                  <a:gd name="T38" fmla="*/ 102 w 204"/>
                  <a:gd name="T39" fmla="*/ 66 h 204"/>
                  <a:gd name="T40" fmla="*/ 131 w 204"/>
                  <a:gd name="T41" fmla="*/ 81 h 204"/>
                  <a:gd name="T42" fmla="*/ 138 w 204"/>
                  <a:gd name="T43" fmla="*/ 102 h 204"/>
                  <a:gd name="T44" fmla="*/ 102 w 204"/>
                  <a:gd name="T45" fmla="*/ 138 h 204"/>
                  <a:gd name="T46" fmla="*/ 66 w 204"/>
                  <a:gd name="T47" fmla="*/ 102 h 204"/>
                  <a:gd name="T48" fmla="*/ 73 w 204"/>
                  <a:gd name="T49" fmla="*/ 81 h 204"/>
                  <a:gd name="T50" fmla="*/ 184 w 204"/>
                  <a:gd name="T51" fmla="*/ 164 h 204"/>
                  <a:gd name="T52" fmla="*/ 164 w 204"/>
                  <a:gd name="T53" fmla="*/ 184 h 204"/>
                  <a:gd name="T54" fmla="*/ 39 w 204"/>
                  <a:gd name="T55" fmla="*/ 184 h 204"/>
                  <a:gd name="T56" fmla="*/ 20 w 204"/>
                  <a:gd name="T57" fmla="*/ 164 h 204"/>
                  <a:gd name="T58" fmla="*/ 20 w 204"/>
                  <a:gd name="T59" fmla="*/ 81 h 204"/>
                  <a:gd name="T60" fmla="*/ 50 w 204"/>
                  <a:gd name="T61" fmla="*/ 81 h 204"/>
                  <a:gd name="T62" fmla="*/ 46 w 204"/>
                  <a:gd name="T63" fmla="*/ 102 h 204"/>
                  <a:gd name="T64" fmla="*/ 102 w 204"/>
                  <a:gd name="T65" fmla="*/ 158 h 204"/>
                  <a:gd name="T66" fmla="*/ 157 w 204"/>
                  <a:gd name="T67" fmla="*/ 102 h 204"/>
                  <a:gd name="T68" fmla="*/ 153 w 204"/>
                  <a:gd name="T69" fmla="*/ 81 h 204"/>
                  <a:gd name="T70" fmla="*/ 184 w 204"/>
                  <a:gd name="T71" fmla="*/ 81 h 204"/>
                  <a:gd name="T72" fmla="*/ 184 w 204"/>
                  <a:gd name="T73"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204">
                    <a:moveTo>
                      <a:pt x="164" y="0"/>
                    </a:moveTo>
                    <a:cubicBezTo>
                      <a:pt x="39" y="0"/>
                      <a:pt x="39" y="0"/>
                      <a:pt x="39" y="0"/>
                    </a:cubicBezTo>
                    <a:cubicBezTo>
                      <a:pt x="17" y="0"/>
                      <a:pt x="0" y="18"/>
                      <a:pt x="0" y="39"/>
                    </a:cubicBezTo>
                    <a:cubicBezTo>
                      <a:pt x="0" y="81"/>
                      <a:pt x="0" y="81"/>
                      <a:pt x="0" y="81"/>
                    </a:cubicBezTo>
                    <a:cubicBezTo>
                      <a:pt x="0" y="164"/>
                      <a:pt x="0" y="164"/>
                      <a:pt x="0" y="164"/>
                    </a:cubicBezTo>
                    <a:cubicBezTo>
                      <a:pt x="0" y="186"/>
                      <a:pt x="17" y="204"/>
                      <a:pt x="39" y="204"/>
                    </a:cubicBezTo>
                    <a:cubicBezTo>
                      <a:pt x="164" y="204"/>
                      <a:pt x="164" y="204"/>
                      <a:pt x="164" y="204"/>
                    </a:cubicBezTo>
                    <a:cubicBezTo>
                      <a:pt x="186" y="204"/>
                      <a:pt x="204" y="186"/>
                      <a:pt x="204" y="164"/>
                    </a:cubicBezTo>
                    <a:cubicBezTo>
                      <a:pt x="204" y="81"/>
                      <a:pt x="204" y="81"/>
                      <a:pt x="204" y="81"/>
                    </a:cubicBezTo>
                    <a:cubicBezTo>
                      <a:pt x="204" y="39"/>
                      <a:pt x="204" y="39"/>
                      <a:pt x="204" y="39"/>
                    </a:cubicBezTo>
                    <a:cubicBezTo>
                      <a:pt x="204" y="18"/>
                      <a:pt x="186" y="0"/>
                      <a:pt x="164" y="0"/>
                    </a:cubicBezTo>
                    <a:close/>
                    <a:moveTo>
                      <a:pt x="176" y="23"/>
                    </a:moveTo>
                    <a:cubicBezTo>
                      <a:pt x="180" y="23"/>
                      <a:pt x="180" y="23"/>
                      <a:pt x="180" y="23"/>
                    </a:cubicBezTo>
                    <a:cubicBezTo>
                      <a:pt x="180" y="28"/>
                      <a:pt x="180" y="28"/>
                      <a:pt x="180" y="28"/>
                    </a:cubicBezTo>
                    <a:cubicBezTo>
                      <a:pt x="180" y="58"/>
                      <a:pt x="180" y="58"/>
                      <a:pt x="180" y="58"/>
                    </a:cubicBezTo>
                    <a:cubicBezTo>
                      <a:pt x="146" y="58"/>
                      <a:pt x="146" y="58"/>
                      <a:pt x="146" y="58"/>
                    </a:cubicBezTo>
                    <a:cubicBezTo>
                      <a:pt x="146" y="24"/>
                      <a:pt x="146" y="24"/>
                      <a:pt x="146" y="24"/>
                    </a:cubicBezTo>
                    <a:lnTo>
                      <a:pt x="176" y="23"/>
                    </a:lnTo>
                    <a:close/>
                    <a:moveTo>
                      <a:pt x="73" y="81"/>
                    </a:moveTo>
                    <a:cubicBezTo>
                      <a:pt x="79" y="72"/>
                      <a:pt x="90" y="66"/>
                      <a:pt x="102" y="66"/>
                    </a:cubicBezTo>
                    <a:cubicBezTo>
                      <a:pt x="114" y="66"/>
                      <a:pt x="124" y="72"/>
                      <a:pt x="131" y="81"/>
                    </a:cubicBezTo>
                    <a:cubicBezTo>
                      <a:pt x="135" y="87"/>
                      <a:pt x="138" y="94"/>
                      <a:pt x="138" y="102"/>
                    </a:cubicBezTo>
                    <a:cubicBezTo>
                      <a:pt x="138" y="122"/>
                      <a:pt x="121" y="138"/>
                      <a:pt x="102" y="138"/>
                    </a:cubicBezTo>
                    <a:cubicBezTo>
                      <a:pt x="82" y="138"/>
                      <a:pt x="66" y="122"/>
                      <a:pt x="66" y="102"/>
                    </a:cubicBezTo>
                    <a:cubicBezTo>
                      <a:pt x="66" y="94"/>
                      <a:pt x="68" y="87"/>
                      <a:pt x="73" y="81"/>
                    </a:cubicBezTo>
                    <a:close/>
                    <a:moveTo>
                      <a:pt x="184" y="164"/>
                    </a:moveTo>
                    <a:cubicBezTo>
                      <a:pt x="184" y="175"/>
                      <a:pt x="175" y="184"/>
                      <a:pt x="164" y="184"/>
                    </a:cubicBezTo>
                    <a:cubicBezTo>
                      <a:pt x="39" y="184"/>
                      <a:pt x="39" y="184"/>
                      <a:pt x="39" y="184"/>
                    </a:cubicBezTo>
                    <a:cubicBezTo>
                      <a:pt x="28" y="184"/>
                      <a:pt x="20" y="175"/>
                      <a:pt x="20" y="164"/>
                    </a:cubicBezTo>
                    <a:cubicBezTo>
                      <a:pt x="20" y="81"/>
                      <a:pt x="20" y="81"/>
                      <a:pt x="20" y="81"/>
                    </a:cubicBezTo>
                    <a:cubicBezTo>
                      <a:pt x="50" y="81"/>
                      <a:pt x="50" y="81"/>
                      <a:pt x="50" y="81"/>
                    </a:cubicBezTo>
                    <a:cubicBezTo>
                      <a:pt x="47" y="87"/>
                      <a:pt x="46" y="95"/>
                      <a:pt x="46" y="102"/>
                    </a:cubicBezTo>
                    <a:cubicBezTo>
                      <a:pt x="46" y="133"/>
                      <a:pt x="71" y="158"/>
                      <a:pt x="102" y="158"/>
                    </a:cubicBezTo>
                    <a:cubicBezTo>
                      <a:pt x="132" y="158"/>
                      <a:pt x="157" y="133"/>
                      <a:pt x="157" y="102"/>
                    </a:cubicBezTo>
                    <a:cubicBezTo>
                      <a:pt x="157" y="95"/>
                      <a:pt x="156" y="87"/>
                      <a:pt x="153" y="81"/>
                    </a:cubicBezTo>
                    <a:cubicBezTo>
                      <a:pt x="184" y="81"/>
                      <a:pt x="184" y="81"/>
                      <a:pt x="184" y="81"/>
                    </a:cubicBezTo>
                    <a:lnTo>
                      <a:pt x="184" y="164"/>
                    </a:lnTo>
                    <a:close/>
                  </a:path>
                </a:pathLst>
              </a:custGeom>
              <a:solidFill>
                <a:schemeClr val="bg2"/>
              </a:solidFill>
              <a:ln>
                <a:noFill/>
              </a:ln>
            </p:spPr>
            <p:txBody>
              <a:bodyPr anchor="ctr"/>
              <a:lstStyle/>
              <a:p>
                <a:pPr algn="ctr"/>
                <a:endParaRPr/>
              </a:p>
            </p:txBody>
          </p:sp>
          <p:grpSp>
            <p:nvGrpSpPr>
              <p:cNvPr id="32" name="íṩḻiḍê"/>
              <p:cNvGrpSpPr/>
              <p:nvPr/>
            </p:nvGrpSpPr>
            <p:grpSpPr>
              <a:xfrm>
                <a:off x="6372064" y="900721"/>
                <a:ext cx="734051" cy="682874"/>
                <a:chOff x="3338513" y="696913"/>
                <a:chExt cx="771525" cy="717550"/>
              </a:xfrm>
              <a:solidFill>
                <a:schemeClr val="bg2"/>
              </a:solidFill>
            </p:grpSpPr>
            <p:sp>
              <p:nvSpPr>
                <p:cNvPr id="54" name="ïṩḻïḑé"/>
                <p:cNvSpPr/>
                <p:nvPr/>
              </p:nvSpPr>
              <p:spPr bwMode="auto">
                <a:xfrm>
                  <a:off x="3586163" y="696913"/>
                  <a:ext cx="523875" cy="717550"/>
                </a:xfrm>
                <a:custGeom>
                  <a:avLst/>
                  <a:gdLst>
                    <a:gd name="T0" fmla="*/ 115 w 125"/>
                    <a:gd name="T1" fmla="*/ 63 h 171"/>
                    <a:gd name="T2" fmla="*/ 69 w 125"/>
                    <a:gd name="T3" fmla="*/ 63 h 171"/>
                    <a:gd name="T4" fmla="*/ 85 w 125"/>
                    <a:gd name="T5" fmla="*/ 32 h 171"/>
                    <a:gd name="T6" fmla="*/ 74 w 125"/>
                    <a:gd name="T7" fmla="*/ 0 h 171"/>
                    <a:gd name="T8" fmla="*/ 61 w 125"/>
                    <a:gd name="T9" fmla="*/ 21 h 171"/>
                    <a:gd name="T10" fmla="*/ 37 w 125"/>
                    <a:gd name="T11" fmla="*/ 53 h 171"/>
                    <a:gd name="T12" fmla="*/ 0 w 125"/>
                    <a:gd name="T13" fmla="*/ 70 h 171"/>
                    <a:gd name="T14" fmla="*/ 0 w 125"/>
                    <a:gd name="T15" fmla="*/ 71 h 171"/>
                    <a:gd name="T16" fmla="*/ 0 w 125"/>
                    <a:gd name="T17" fmla="*/ 148 h 171"/>
                    <a:gd name="T18" fmla="*/ 26 w 125"/>
                    <a:gd name="T19" fmla="*/ 155 h 171"/>
                    <a:gd name="T20" fmla="*/ 76 w 125"/>
                    <a:gd name="T21" fmla="*/ 171 h 171"/>
                    <a:gd name="T22" fmla="*/ 91 w 125"/>
                    <a:gd name="T23" fmla="*/ 147 h 171"/>
                    <a:gd name="T24" fmla="*/ 103 w 125"/>
                    <a:gd name="T25" fmla="*/ 121 h 171"/>
                    <a:gd name="T26" fmla="*/ 107 w 125"/>
                    <a:gd name="T27" fmla="*/ 91 h 171"/>
                    <a:gd name="T28" fmla="*/ 115 w 125"/>
                    <a:gd name="T29" fmla="*/ 6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71">
                      <a:moveTo>
                        <a:pt x="115" y="63"/>
                      </a:moveTo>
                      <a:cubicBezTo>
                        <a:pt x="105" y="57"/>
                        <a:pt x="69" y="63"/>
                        <a:pt x="69" y="63"/>
                      </a:cubicBezTo>
                      <a:cubicBezTo>
                        <a:pt x="75" y="59"/>
                        <a:pt x="85" y="38"/>
                        <a:pt x="85" y="32"/>
                      </a:cubicBezTo>
                      <a:cubicBezTo>
                        <a:pt x="86" y="19"/>
                        <a:pt x="83" y="0"/>
                        <a:pt x="74" y="0"/>
                      </a:cubicBezTo>
                      <a:cubicBezTo>
                        <a:pt x="64" y="0"/>
                        <a:pt x="62" y="16"/>
                        <a:pt x="61" y="21"/>
                      </a:cubicBezTo>
                      <a:cubicBezTo>
                        <a:pt x="59" y="35"/>
                        <a:pt x="46" y="48"/>
                        <a:pt x="37" y="53"/>
                      </a:cubicBezTo>
                      <a:cubicBezTo>
                        <a:pt x="25" y="60"/>
                        <a:pt x="16" y="66"/>
                        <a:pt x="0" y="70"/>
                      </a:cubicBezTo>
                      <a:cubicBezTo>
                        <a:pt x="0" y="70"/>
                        <a:pt x="0" y="71"/>
                        <a:pt x="0" y="71"/>
                      </a:cubicBezTo>
                      <a:cubicBezTo>
                        <a:pt x="0" y="148"/>
                        <a:pt x="0" y="148"/>
                        <a:pt x="0" y="148"/>
                      </a:cubicBezTo>
                      <a:cubicBezTo>
                        <a:pt x="9" y="148"/>
                        <a:pt x="18" y="150"/>
                        <a:pt x="26" y="155"/>
                      </a:cubicBezTo>
                      <a:cubicBezTo>
                        <a:pt x="43" y="164"/>
                        <a:pt x="56" y="171"/>
                        <a:pt x="76" y="171"/>
                      </a:cubicBezTo>
                      <a:cubicBezTo>
                        <a:pt x="106" y="171"/>
                        <a:pt x="103" y="148"/>
                        <a:pt x="91" y="147"/>
                      </a:cubicBezTo>
                      <a:cubicBezTo>
                        <a:pt x="115" y="148"/>
                        <a:pt x="117" y="128"/>
                        <a:pt x="103" y="121"/>
                      </a:cubicBezTo>
                      <a:cubicBezTo>
                        <a:pt x="125" y="121"/>
                        <a:pt x="122" y="93"/>
                        <a:pt x="107" y="91"/>
                      </a:cubicBezTo>
                      <a:cubicBezTo>
                        <a:pt x="124" y="92"/>
                        <a:pt x="125" y="70"/>
                        <a:pt x="115" y="63"/>
                      </a:cubicBezTo>
                      <a:close/>
                    </a:path>
                  </a:pathLst>
                </a:custGeom>
                <a:grpFill/>
                <a:ln>
                  <a:noFill/>
                </a:ln>
              </p:spPr>
              <p:txBody>
                <a:bodyPr anchor="ctr"/>
                <a:lstStyle/>
                <a:p>
                  <a:pPr algn="ctr"/>
                  <a:endParaRPr/>
                </a:p>
              </p:txBody>
            </p:sp>
            <p:sp>
              <p:nvSpPr>
                <p:cNvPr id="55" name="iṥḻîďè"/>
                <p:cNvSpPr/>
                <p:nvPr/>
              </p:nvSpPr>
              <p:spPr bwMode="auto">
                <a:xfrm>
                  <a:off x="3338513" y="960438"/>
                  <a:ext cx="163513" cy="390525"/>
                </a:xfrm>
                <a:prstGeom prst="rect">
                  <a:avLst/>
                </a:prstGeom>
                <a:grpFill/>
                <a:ln>
                  <a:noFill/>
                </a:ln>
              </p:spPr>
              <p:txBody>
                <a:bodyPr anchor="ctr"/>
                <a:lstStyle/>
                <a:p>
                  <a:pPr algn="ctr"/>
                  <a:endParaRPr/>
                </a:p>
              </p:txBody>
            </p:sp>
          </p:grpSp>
          <p:grpSp>
            <p:nvGrpSpPr>
              <p:cNvPr id="33" name="îṩľïďe"/>
              <p:cNvGrpSpPr/>
              <p:nvPr/>
            </p:nvGrpSpPr>
            <p:grpSpPr>
              <a:xfrm>
                <a:off x="5192322" y="1769361"/>
                <a:ext cx="977541" cy="915731"/>
                <a:chOff x="544513" y="3295650"/>
                <a:chExt cx="1325563" cy="1241425"/>
              </a:xfrm>
              <a:solidFill>
                <a:schemeClr val="bg2"/>
              </a:solidFill>
            </p:grpSpPr>
            <p:sp>
              <p:nvSpPr>
                <p:cNvPr id="51" name="i$ḷîḋe"/>
                <p:cNvSpPr/>
                <p:nvPr/>
              </p:nvSpPr>
              <p:spPr bwMode="auto">
                <a:xfrm>
                  <a:off x="692151" y="3351213"/>
                  <a:ext cx="1077913" cy="1185862"/>
                </a:xfrm>
                <a:custGeom>
                  <a:avLst/>
                  <a:gdLst>
                    <a:gd name="T0" fmla="*/ 55 w 257"/>
                    <a:gd name="T1" fmla="*/ 128 h 283"/>
                    <a:gd name="T2" fmla="*/ 49 w 257"/>
                    <a:gd name="T3" fmla="*/ 128 h 283"/>
                    <a:gd name="T4" fmla="*/ 43 w 257"/>
                    <a:gd name="T5" fmla="*/ 129 h 283"/>
                    <a:gd name="T6" fmla="*/ 36 w 257"/>
                    <a:gd name="T7" fmla="*/ 133 h 283"/>
                    <a:gd name="T8" fmla="*/ 9 w 257"/>
                    <a:gd name="T9" fmla="*/ 145 h 283"/>
                    <a:gd name="T10" fmla="*/ 4 w 257"/>
                    <a:gd name="T11" fmla="*/ 167 h 283"/>
                    <a:gd name="T12" fmla="*/ 26 w 257"/>
                    <a:gd name="T13" fmla="*/ 218 h 283"/>
                    <a:gd name="T14" fmla="*/ 46 w 257"/>
                    <a:gd name="T15" fmla="*/ 229 h 283"/>
                    <a:gd name="T16" fmla="*/ 61 w 257"/>
                    <a:gd name="T17" fmla="*/ 223 h 283"/>
                    <a:gd name="T18" fmla="*/ 73 w 257"/>
                    <a:gd name="T19" fmla="*/ 243 h 283"/>
                    <a:gd name="T20" fmla="*/ 77 w 257"/>
                    <a:gd name="T21" fmla="*/ 240 h 283"/>
                    <a:gd name="T22" fmla="*/ 106 w 257"/>
                    <a:gd name="T23" fmla="*/ 273 h 283"/>
                    <a:gd name="T24" fmla="*/ 139 w 257"/>
                    <a:gd name="T25" fmla="*/ 275 h 283"/>
                    <a:gd name="T26" fmla="*/ 141 w 257"/>
                    <a:gd name="T27" fmla="*/ 242 h 283"/>
                    <a:gd name="T28" fmla="*/ 138 w 257"/>
                    <a:gd name="T29" fmla="*/ 239 h 283"/>
                    <a:gd name="T30" fmla="*/ 138 w 257"/>
                    <a:gd name="T31" fmla="*/ 239 h 283"/>
                    <a:gd name="T32" fmla="*/ 112 w 257"/>
                    <a:gd name="T33" fmla="*/ 209 h 283"/>
                    <a:gd name="T34" fmla="*/ 128 w 257"/>
                    <a:gd name="T35" fmla="*/ 194 h 283"/>
                    <a:gd name="T36" fmla="*/ 131 w 257"/>
                    <a:gd name="T37" fmla="*/ 193 h 283"/>
                    <a:gd name="T38" fmla="*/ 257 w 257"/>
                    <a:gd name="T39" fmla="*/ 188 h 283"/>
                    <a:gd name="T40" fmla="*/ 174 w 257"/>
                    <a:gd name="T41" fmla="*/ 0 h 283"/>
                    <a:gd name="T42" fmla="*/ 55 w 257"/>
                    <a:gd name="T43" fmla="*/ 1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7" h="283">
                      <a:moveTo>
                        <a:pt x="55" y="128"/>
                      </a:moveTo>
                      <a:cubicBezTo>
                        <a:pt x="53" y="127"/>
                        <a:pt x="51" y="127"/>
                        <a:pt x="49" y="128"/>
                      </a:cubicBezTo>
                      <a:cubicBezTo>
                        <a:pt x="47" y="128"/>
                        <a:pt x="45" y="128"/>
                        <a:pt x="43" y="129"/>
                      </a:cubicBezTo>
                      <a:cubicBezTo>
                        <a:pt x="41" y="130"/>
                        <a:pt x="38" y="131"/>
                        <a:pt x="36" y="133"/>
                      </a:cubicBezTo>
                      <a:cubicBezTo>
                        <a:pt x="9" y="145"/>
                        <a:pt x="9" y="145"/>
                        <a:pt x="9" y="145"/>
                      </a:cubicBezTo>
                      <a:cubicBezTo>
                        <a:pt x="2" y="148"/>
                        <a:pt x="0" y="158"/>
                        <a:pt x="4" y="167"/>
                      </a:cubicBezTo>
                      <a:cubicBezTo>
                        <a:pt x="26" y="218"/>
                        <a:pt x="26" y="218"/>
                        <a:pt x="26" y="218"/>
                      </a:cubicBezTo>
                      <a:cubicBezTo>
                        <a:pt x="30" y="227"/>
                        <a:pt x="39" y="232"/>
                        <a:pt x="46" y="229"/>
                      </a:cubicBezTo>
                      <a:cubicBezTo>
                        <a:pt x="61" y="223"/>
                        <a:pt x="61" y="223"/>
                        <a:pt x="61" y="223"/>
                      </a:cubicBezTo>
                      <a:cubicBezTo>
                        <a:pt x="73" y="243"/>
                        <a:pt x="73" y="243"/>
                        <a:pt x="73" y="243"/>
                      </a:cubicBezTo>
                      <a:cubicBezTo>
                        <a:pt x="77" y="240"/>
                        <a:pt x="77" y="240"/>
                        <a:pt x="77" y="240"/>
                      </a:cubicBezTo>
                      <a:cubicBezTo>
                        <a:pt x="106" y="273"/>
                        <a:pt x="106" y="273"/>
                        <a:pt x="106" y="273"/>
                      </a:cubicBezTo>
                      <a:cubicBezTo>
                        <a:pt x="115" y="282"/>
                        <a:pt x="129" y="283"/>
                        <a:pt x="139" y="275"/>
                      </a:cubicBezTo>
                      <a:cubicBezTo>
                        <a:pt x="149" y="266"/>
                        <a:pt x="149" y="251"/>
                        <a:pt x="141" y="242"/>
                      </a:cubicBezTo>
                      <a:cubicBezTo>
                        <a:pt x="138" y="239"/>
                        <a:pt x="138" y="239"/>
                        <a:pt x="138" y="239"/>
                      </a:cubicBezTo>
                      <a:cubicBezTo>
                        <a:pt x="138" y="239"/>
                        <a:pt x="138" y="239"/>
                        <a:pt x="138" y="239"/>
                      </a:cubicBezTo>
                      <a:cubicBezTo>
                        <a:pt x="112" y="209"/>
                        <a:pt x="112" y="209"/>
                        <a:pt x="112" y="209"/>
                      </a:cubicBezTo>
                      <a:cubicBezTo>
                        <a:pt x="128" y="194"/>
                        <a:pt x="128" y="194"/>
                        <a:pt x="128" y="194"/>
                      </a:cubicBezTo>
                      <a:cubicBezTo>
                        <a:pt x="129" y="194"/>
                        <a:pt x="130" y="193"/>
                        <a:pt x="131" y="193"/>
                      </a:cubicBezTo>
                      <a:cubicBezTo>
                        <a:pt x="197" y="178"/>
                        <a:pt x="257" y="188"/>
                        <a:pt x="257" y="188"/>
                      </a:cubicBezTo>
                      <a:cubicBezTo>
                        <a:pt x="174" y="0"/>
                        <a:pt x="174" y="0"/>
                        <a:pt x="174" y="0"/>
                      </a:cubicBezTo>
                      <a:cubicBezTo>
                        <a:pt x="161" y="54"/>
                        <a:pt x="86" y="108"/>
                        <a:pt x="55" y="128"/>
                      </a:cubicBezTo>
                      <a:close/>
                    </a:path>
                  </a:pathLst>
                </a:custGeom>
                <a:grpFill/>
                <a:ln>
                  <a:noFill/>
                </a:ln>
              </p:spPr>
              <p:txBody>
                <a:bodyPr anchor="ctr"/>
                <a:lstStyle/>
                <a:p>
                  <a:pPr algn="ctr"/>
                  <a:endParaRPr/>
                </a:p>
              </p:txBody>
            </p:sp>
            <p:sp>
              <p:nvSpPr>
                <p:cNvPr id="52" name="i$ľiḍê"/>
                <p:cNvSpPr/>
                <p:nvPr/>
              </p:nvSpPr>
              <p:spPr bwMode="auto">
                <a:xfrm>
                  <a:off x="1446213" y="3295650"/>
                  <a:ext cx="423863" cy="865187"/>
                </a:xfrm>
                <a:custGeom>
                  <a:avLst/>
                  <a:gdLst>
                    <a:gd name="T0" fmla="*/ 0 w 267"/>
                    <a:gd name="T1" fmla="*/ 16 h 545"/>
                    <a:gd name="T2" fmla="*/ 233 w 267"/>
                    <a:gd name="T3" fmla="*/ 545 h 545"/>
                    <a:gd name="T4" fmla="*/ 267 w 267"/>
                    <a:gd name="T5" fmla="*/ 531 h 545"/>
                    <a:gd name="T6" fmla="*/ 32 w 267"/>
                    <a:gd name="T7" fmla="*/ 0 h 545"/>
                    <a:gd name="T8" fmla="*/ 0 w 267"/>
                    <a:gd name="T9" fmla="*/ 16 h 545"/>
                  </a:gdLst>
                  <a:ahLst/>
                  <a:cxnLst>
                    <a:cxn ang="0">
                      <a:pos x="T0" y="T1"/>
                    </a:cxn>
                    <a:cxn ang="0">
                      <a:pos x="T2" y="T3"/>
                    </a:cxn>
                    <a:cxn ang="0">
                      <a:pos x="T4" y="T5"/>
                    </a:cxn>
                    <a:cxn ang="0">
                      <a:pos x="T6" y="T7"/>
                    </a:cxn>
                    <a:cxn ang="0">
                      <a:pos x="T8" y="T9"/>
                    </a:cxn>
                  </a:cxnLst>
                  <a:rect l="0" t="0" r="r" b="b"/>
                  <a:pathLst>
                    <a:path w="267" h="545">
                      <a:moveTo>
                        <a:pt x="0" y="16"/>
                      </a:moveTo>
                      <a:lnTo>
                        <a:pt x="233" y="545"/>
                      </a:lnTo>
                      <a:lnTo>
                        <a:pt x="267" y="531"/>
                      </a:lnTo>
                      <a:lnTo>
                        <a:pt x="32" y="0"/>
                      </a:lnTo>
                      <a:lnTo>
                        <a:pt x="0" y="16"/>
                      </a:lnTo>
                      <a:close/>
                    </a:path>
                  </a:pathLst>
                </a:custGeom>
                <a:grpFill/>
                <a:ln>
                  <a:noFill/>
                </a:ln>
              </p:spPr>
              <p:txBody>
                <a:bodyPr anchor="ctr"/>
                <a:lstStyle/>
                <a:p>
                  <a:pPr algn="ctr"/>
                  <a:endParaRPr/>
                </a:p>
              </p:txBody>
            </p:sp>
            <p:sp>
              <p:nvSpPr>
                <p:cNvPr id="53" name="íšľidê"/>
                <p:cNvSpPr/>
                <p:nvPr/>
              </p:nvSpPr>
              <p:spPr bwMode="auto">
                <a:xfrm>
                  <a:off x="544513" y="4021138"/>
                  <a:ext cx="257175" cy="339725"/>
                </a:xfrm>
                <a:custGeom>
                  <a:avLst/>
                  <a:gdLst>
                    <a:gd name="T0" fmla="*/ 30 w 61"/>
                    <a:gd name="T1" fmla="*/ 10 h 81"/>
                    <a:gd name="T2" fmla="*/ 28 w 61"/>
                    <a:gd name="T3" fmla="*/ 0 h 81"/>
                    <a:gd name="T4" fmla="*/ 17 w 61"/>
                    <a:gd name="T5" fmla="*/ 5 h 81"/>
                    <a:gd name="T6" fmla="*/ 1 w 61"/>
                    <a:gd name="T7" fmla="*/ 32 h 81"/>
                    <a:gd name="T8" fmla="*/ 15 w 61"/>
                    <a:gd name="T9" fmla="*/ 26 h 81"/>
                    <a:gd name="T10" fmla="*/ 21 w 61"/>
                    <a:gd name="T11" fmla="*/ 28 h 81"/>
                    <a:gd name="T12" fmla="*/ 21 w 61"/>
                    <a:gd name="T13" fmla="*/ 29 h 81"/>
                    <a:gd name="T14" fmla="*/ 22 w 61"/>
                    <a:gd name="T15" fmla="*/ 29 h 81"/>
                    <a:gd name="T16" fmla="*/ 19 w 61"/>
                    <a:gd name="T17" fmla="*/ 35 h 81"/>
                    <a:gd name="T18" fmla="*/ 4 w 61"/>
                    <a:gd name="T19" fmla="*/ 42 h 81"/>
                    <a:gd name="T20" fmla="*/ 6 w 61"/>
                    <a:gd name="T21" fmla="*/ 47 h 81"/>
                    <a:gd name="T22" fmla="*/ 21 w 61"/>
                    <a:gd name="T23" fmla="*/ 40 h 81"/>
                    <a:gd name="T24" fmla="*/ 27 w 61"/>
                    <a:gd name="T25" fmla="*/ 42 h 81"/>
                    <a:gd name="T26" fmla="*/ 28 w 61"/>
                    <a:gd name="T27" fmla="*/ 43 h 81"/>
                    <a:gd name="T28" fmla="*/ 28 w 61"/>
                    <a:gd name="T29" fmla="*/ 43 h 81"/>
                    <a:gd name="T30" fmla="*/ 25 w 61"/>
                    <a:gd name="T31" fmla="*/ 49 h 81"/>
                    <a:gd name="T32" fmla="*/ 10 w 61"/>
                    <a:gd name="T33" fmla="*/ 56 h 81"/>
                    <a:gd name="T34" fmla="*/ 12 w 61"/>
                    <a:gd name="T35" fmla="*/ 61 h 81"/>
                    <a:gd name="T36" fmla="*/ 28 w 61"/>
                    <a:gd name="T37" fmla="*/ 54 h 81"/>
                    <a:gd name="T38" fmla="*/ 34 w 61"/>
                    <a:gd name="T39" fmla="*/ 56 h 81"/>
                    <a:gd name="T40" fmla="*/ 34 w 61"/>
                    <a:gd name="T41" fmla="*/ 56 h 81"/>
                    <a:gd name="T42" fmla="*/ 34 w 61"/>
                    <a:gd name="T43" fmla="*/ 57 h 81"/>
                    <a:gd name="T44" fmla="*/ 31 w 61"/>
                    <a:gd name="T45" fmla="*/ 63 h 81"/>
                    <a:gd name="T46" fmla="*/ 17 w 61"/>
                    <a:gd name="T47" fmla="*/ 69 h 81"/>
                    <a:gd name="T48" fmla="*/ 48 w 61"/>
                    <a:gd name="T49" fmla="*/ 76 h 81"/>
                    <a:gd name="T50" fmla="*/ 61 w 61"/>
                    <a:gd name="T51" fmla="*/ 71 h 81"/>
                    <a:gd name="T52" fmla="*/ 53 w 61"/>
                    <a:gd name="T53" fmla="*/ 61 h 81"/>
                    <a:gd name="T54" fmla="*/ 30 w 61"/>
                    <a:gd name="T55"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81">
                      <a:moveTo>
                        <a:pt x="30" y="10"/>
                      </a:moveTo>
                      <a:cubicBezTo>
                        <a:pt x="29" y="6"/>
                        <a:pt x="28" y="3"/>
                        <a:pt x="28" y="0"/>
                      </a:cubicBezTo>
                      <a:cubicBezTo>
                        <a:pt x="17" y="5"/>
                        <a:pt x="17" y="5"/>
                        <a:pt x="17" y="5"/>
                      </a:cubicBezTo>
                      <a:cubicBezTo>
                        <a:pt x="6" y="10"/>
                        <a:pt x="0" y="21"/>
                        <a:pt x="1" y="32"/>
                      </a:cubicBezTo>
                      <a:cubicBezTo>
                        <a:pt x="15" y="26"/>
                        <a:pt x="15" y="26"/>
                        <a:pt x="15" y="26"/>
                      </a:cubicBezTo>
                      <a:cubicBezTo>
                        <a:pt x="18" y="25"/>
                        <a:pt x="20" y="26"/>
                        <a:pt x="21" y="28"/>
                      </a:cubicBezTo>
                      <a:cubicBezTo>
                        <a:pt x="21" y="29"/>
                        <a:pt x="21" y="29"/>
                        <a:pt x="21" y="29"/>
                      </a:cubicBezTo>
                      <a:cubicBezTo>
                        <a:pt x="21" y="29"/>
                        <a:pt x="22" y="29"/>
                        <a:pt x="22" y="29"/>
                      </a:cubicBezTo>
                      <a:cubicBezTo>
                        <a:pt x="23" y="31"/>
                        <a:pt x="22" y="34"/>
                        <a:pt x="19" y="35"/>
                      </a:cubicBezTo>
                      <a:cubicBezTo>
                        <a:pt x="4" y="42"/>
                        <a:pt x="4" y="42"/>
                        <a:pt x="4" y="42"/>
                      </a:cubicBezTo>
                      <a:cubicBezTo>
                        <a:pt x="6" y="47"/>
                        <a:pt x="6" y="47"/>
                        <a:pt x="6" y="47"/>
                      </a:cubicBezTo>
                      <a:cubicBezTo>
                        <a:pt x="21" y="40"/>
                        <a:pt x="21" y="40"/>
                        <a:pt x="21" y="40"/>
                      </a:cubicBezTo>
                      <a:cubicBezTo>
                        <a:pt x="24" y="39"/>
                        <a:pt x="26" y="40"/>
                        <a:pt x="27" y="42"/>
                      </a:cubicBezTo>
                      <a:cubicBezTo>
                        <a:pt x="27" y="42"/>
                        <a:pt x="27" y="43"/>
                        <a:pt x="28" y="43"/>
                      </a:cubicBezTo>
                      <a:cubicBezTo>
                        <a:pt x="28" y="43"/>
                        <a:pt x="28" y="43"/>
                        <a:pt x="28" y="43"/>
                      </a:cubicBezTo>
                      <a:cubicBezTo>
                        <a:pt x="29" y="45"/>
                        <a:pt x="28" y="48"/>
                        <a:pt x="25" y="49"/>
                      </a:cubicBezTo>
                      <a:cubicBezTo>
                        <a:pt x="10" y="56"/>
                        <a:pt x="10" y="56"/>
                        <a:pt x="10" y="56"/>
                      </a:cubicBezTo>
                      <a:cubicBezTo>
                        <a:pt x="12" y="61"/>
                        <a:pt x="12" y="61"/>
                        <a:pt x="12" y="61"/>
                      </a:cubicBezTo>
                      <a:cubicBezTo>
                        <a:pt x="28" y="54"/>
                        <a:pt x="28" y="54"/>
                        <a:pt x="28" y="54"/>
                      </a:cubicBezTo>
                      <a:cubicBezTo>
                        <a:pt x="30" y="53"/>
                        <a:pt x="33" y="54"/>
                        <a:pt x="34" y="56"/>
                      </a:cubicBezTo>
                      <a:cubicBezTo>
                        <a:pt x="34" y="56"/>
                        <a:pt x="34" y="56"/>
                        <a:pt x="34" y="56"/>
                      </a:cubicBezTo>
                      <a:cubicBezTo>
                        <a:pt x="34" y="57"/>
                        <a:pt x="34" y="57"/>
                        <a:pt x="34" y="57"/>
                      </a:cubicBezTo>
                      <a:cubicBezTo>
                        <a:pt x="35" y="59"/>
                        <a:pt x="34" y="62"/>
                        <a:pt x="31" y="63"/>
                      </a:cubicBezTo>
                      <a:cubicBezTo>
                        <a:pt x="17" y="69"/>
                        <a:pt x="17" y="69"/>
                        <a:pt x="17" y="69"/>
                      </a:cubicBezTo>
                      <a:cubicBezTo>
                        <a:pt x="24" y="78"/>
                        <a:pt x="37" y="81"/>
                        <a:pt x="48" y="76"/>
                      </a:cubicBezTo>
                      <a:cubicBezTo>
                        <a:pt x="61" y="71"/>
                        <a:pt x="61" y="71"/>
                        <a:pt x="61" y="71"/>
                      </a:cubicBezTo>
                      <a:cubicBezTo>
                        <a:pt x="58" y="68"/>
                        <a:pt x="55" y="65"/>
                        <a:pt x="53" y="61"/>
                      </a:cubicBezTo>
                      <a:lnTo>
                        <a:pt x="30" y="10"/>
                      </a:lnTo>
                      <a:close/>
                    </a:path>
                  </a:pathLst>
                </a:custGeom>
                <a:grpFill/>
                <a:ln>
                  <a:noFill/>
                </a:ln>
              </p:spPr>
              <p:txBody>
                <a:bodyPr anchor="ctr"/>
                <a:lstStyle/>
                <a:p>
                  <a:pPr algn="ctr"/>
                  <a:endParaRPr/>
                </a:p>
              </p:txBody>
            </p:sp>
          </p:grpSp>
          <p:sp>
            <p:nvSpPr>
              <p:cNvPr id="34" name="íşļîdê"/>
              <p:cNvSpPr/>
              <p:nvPr/>
            </p:nvSpPr>
            <p:spPr bwMode="auto">
              <a:xfrm>
                <a:off x="3602006" y="2021722"/>
                <a:ext cx="583011" cy="702513"/>
              </a:xfrm>
              <a:custGeom>
                <a:avLst/>
                <a:gdLst>
                  <a:gd name="T0" fmla="*/ 60 w 146"/>
                  <a:gd name="T1" fmla="*/ 173 h 176"/>
                  <a:gd name="T2" fmla="*/ 40 w 146"/>
                  <a:gd name="T3" fmla="*/ 173 h 176"/>
                  <a:gd name="T4" fmla="*/ 38 w 146"/>
                  <a:gd name="T5" fmla="*/ 172 h 176"/>
                  <a:gd name="T6" fmla="*/ 17 w 146"/>
                  <a:gd name="T7" fmla="*/ 122 h 176"/>
                  <a:gd name="T8" fmla="*/ 40 w 146"/>
                  <a:gd name="T9" fmla="*/ 62 h 176"/>
                  <a:gd name="T10" fmla="*/ 55 w 146"/>
                  <a:gd name="T11" fmla="*/ 24 h 176"/>
                  <a:gd name="T12" fmla="*/ 103 w 146"/>
                  <a:gd name="T13" fmla="*/ 9 h 176"/>
                  <a:gd name="T14" fmla="*/ 141 w 146"/>
                  <a:gd name="T15" fmla="*/ 53 h 176"/>
                  <a:gd name="T16" fmla="*/ 108 w 146"/>
                  <a:gd name="T17" fmla="*/ 142 h 176"/>
                  <a:gd name="T18" fmla="*/ 98 w 146"/>
                  <a:gd name="T19" fmla="*/ 146 h 176"/>
                  <a:gd name="T20" fmla="*/ 94 w 146"/>
                  <a:gd name="T21" fmla="*/ 137 h 176"/>
                  <a:gd name="T22" fmla="*/ 127 w 146"/>
                  <a:gd name="T23" fmla="*/ 49 h 176"/>
                  <a:gd name="T24" fmla="*/ 98 w 146"/>
                  <a:gd name="T25" fmla="*/ 23 h 176"/>
                  <a:gd name="T26" fmla="*/ 69 w 146"/>
                  <a:gd name="T27" fmla="*/ 30 h 176"/>
                  <a:gd name="T28" fmla="*/ 54 w 146"/>
                  <a:gd name="T29" fmla="*/ 67 h 176"/>
                  <a:gd name="T30" fmla="*/ 30 w 146"/>
                  <a:gd name="T31" fmla="*/ 127 h 176"/>
                  <a:gd name="T32" fmla="*/ 44 w 146"/>
                  <a:gd name="T33" fmla="*/ 159 h 176"/>
                  <a:gd name="T34" fmla="*/ 45 w 146"/>
                  <a:gd name="T35" fmla="*/ 159 h 176"/>
                  <a:gd name="T36" fmla="*/ 61 w 146"/>
                  <a:gd name="T37" fmla="*/ 151 h 176"/>
                  <a:gd name="T38" fmla="*/ 67 w 146"/>
                  <a:gd name="T39" fmla="*/ 135 h 176"/>
                  <a:gd name="T40" fmla="*/ 93 w 146"/>
                  <a:gd name="T41" fmla="*/ 68 h 176"/>
                  <a:gd name="T42" fmla="*/ 91 w 146"/>
                  <a:gd name="T43" fmla="*/ 58 h 176"/>
                  <a:gd name="T44" fmla="*/ 82 w 146"/>
                  <a:gd name="T45" fmla="*/ 67 h 176"/>
                  <a:gd name="T46" fmla="*/ 57 w 146"/>
                  <a:gd name="T47" fmla="*/ 130 h 176"/>
                  <a:gd name="T48" fmla="*/ 48 w 146"/>
                  <a:gd name="T49" fmla="*/ 134 h 176"/>
                  <a:gd name="T50" fmla="*/ 44 w 146"/>
                  <a:gd name="T51" fmla="*/ 124 h 176"/>
                  <a:gd name="T52" fmla="*/ 68 w 146"/>
                  <a:gd name="T53" fmla="*/ 62 h 176"/>
                  <a:gd name="T54" fmla="*/ 96 w 146"/>
                  <a:gd name="T55" fmla="*/ 44 h 176"/>
                  <a:gd name="T56" fmla="*/ 107 w 146"/>
                  <a:gd name="T57" fmla="*/ 72 h 176"/>
                  <a:gd name="T58" fmla="*/ 80 w 146"/>
                  <a:gd name="T59" fmla="*/ 141 h 176"/>
                  <a:gd name="T60" fmla="*/ 74 w 146"/>
                  <a:gd name="T61" fmla="*/ 156 h 176"/>
                  <a:gd name="T62" fmla="*/ 60 w 146"/>
                  <a:gd name="T63" fmla="*/ 1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176">
                    <a:moveTo>
                      <a:pt x="60" y="173"/>
                    </a:moveTo>
                    <a:cubicBezTo>
                      <a:pt x="54" y="176"/>
                      <a:pt x="47" y="176"/>
                      <a:pt x="40" y="173"/>
                    </a:cubicBezTo>
                    <a:cubicBezTo>
                      <a:pt x="38" y="172"/>
                      <a:pt x="38" y="172"/>
                      <a:pt x="38" y="172"/>
                    </a:cubicBezTo>
                    <a:cubicBezTo>
                      <a:pt x="31" y="169"/>
                      <a:pt x="0" y="160"/>
                      <a:pt x="17" y="122"/>
                    </a:cubicBezTo>
                    <a:cubicBezTo>
                      <a:pt x="24" y="106"/>
                      <a:pt x="31" y="84"/>
                      <a:pt x="40" y="62"/>
                    </a:cubicBezTo>
                    <a:cubicBezTo>
                      <a:pt x="45" y="50"/>
                      <a:pt x="50" y="37"/>
                      <a:pt x="55" y="24"/>
                    </a:cubicBezTo>
                    <a:cubicBezTo>
                      <a:pt x="64" y="1"/>
                      <a:pt x="78" y="0"/>
                      <a:pt x="103" y="9"/>
                    </a:cubicBezTo>
                    <a:cubicBezTo>
                      <a:pt x="133" y="20"/>
                      <a:pt x="146" y="39"/>
                      <a:pt x="141" y="53"/>
                    </a:cubicBezTo>
                    <a:cubicBezTo>
                      <a:pt x="135" y="73"/>
                      <a:pt x="109" y="139"/>
                      <a:pt x="108" y="142"/>
                    </a:cubicBezTo>
                    <a:cubicBezTo>
                      <a:pt x="106" y="146"/>
                      <a:pt x="102" y="148"/>
                      <a:pt x="98" y="146"/>
                    </a:cubicBezTo>
                    <a:cubicBezTo>
                      <a:pt x="95" y="145"/>
                      <a:pt x="93" y="141"/>
                      <a:pt x="94" y="137"/>
                    </a:cubicBezTo>
                    <a:cubicBezTo>
                      <a:pt x="94" y="136"/>
                      <a:pt x="121" y="68"/>
                      <a:pt x="127" y="49"/>
                    </a:cubicBezTo>
                    <a:cubicBezTo>
                      <a:pt x="129" y="45"/>
                      <a:pt x="124" y="32"/>
                      <a:pt x="98" y="23"/>
                    </a:cubicBezTo>
                    <a:cubicBezTo>
                      <a:pt x="83" y="17"/>
                      <a:pt x="76" y="10"/>
                      <a:pt x="69" y="30"/>
                    </a:cubicBezTo>
                    <a:cubicBezTo>
                      <a:pt x="64" y="42"/>
                      <a:pt x="59" y="55"/>
                      <a:pt x="54" y="67"/>
                    </a:cubicBezTo>
                    <a:cubicBezTo>
                      <a:pt x="45" y="90"/>
                      <a:pt x="37" y="111"/>
                      <a:pt x="30" y="127"/>
                    </a:cubicBezTo>
                    <a:cubicBezTo>
                      <a:pt x="20" y="152"/>
                      <a:pt x="36" y="155"/>
                      <a:pt x="44" y="159"/>
                    </a:cubicBezTo>
                    <a:cubicBezTo>
                      <a:pt x="45" y="159"/>
                      <a:pt x="45" y="159"/>
                      <a:pt x="45" y="159"/>
                    </a:cubicBezTo>
                    <a:cubicBezTo>
                      <a:pt x="52" y="162"/>
                      <a:pt x="56" y="161"/>
                      <a:pt x="61" y="151"/>
                    </a:cubicBezTo>
                    <a:cubicBezTo>
                      <a:pt x="62" y="148"/>
                      <a:pt x="64" y="142"/>
                      <a:pt x="67" y="135"/>
                    </a:cubicBezTo>
                    <a:cubicBezTo>
                      <a:pt x="75" y="115"/>
                      <a:pt x="91" y="77"/>
                      <a:pt x="93" y="68"/>
                    </a:cubicBezTo>
                    <a:cubicBezTo>
                      <a:pt x="94" y="65"/>
                      <a:pt x="94" y="59"/>
                      <a:pt x="91" y="58"/>
                    </a:cubicBezTo>
                    <a:cubicBezTo>
                      <a:pt x="87" y="56"/>
                      <a:pt x="83" y="65"/>
                      <a:pt x="82" y="67"/>
                    </a:cubicBezTo>
                    <a:cubicBezTo>
                      <a:pt x="72" y="95"/>
                      <a:pt x="58" y="130"/>
                      <a:pt x="57" y="130"/>
                    </a:cubicBezTo>
                    <a:cubicBezTo>
                      <a:pt x="56" y="134"/>
                      <a:pt x="52" y="135"/>
                      <a:pt x="48" y="134"/>
                    </a:cubicBezTo>
                    <a:cubicBezTo>
                      <a:pt x="44" y="132"/>
                      <a:pt x="42" y="128"/>
                      <a:pt x="44" y="124"/>
                    </a:cubicBezTo>
                    <a:cubicBezTo>
                      <a:pt x="44" y="124"/>
                      <a:pt x="58" y="90"/>
                      <a:pt x="68" y="62"/>
                    </a:cubicBezTo>
                    <a:cubicBezTo>
                      <a:pt x="75" y="45"/>
                      <a:pt x="87" y="41"/>
                      <a:pt x="96" y="44"/>
                    </a:cubicBezTo>
                    <a:cubicBezTo>
                      <a:pt x="106" y="47"/>
                      <a:pt x="110" y="62"/>
                      <a:pt x="107" y="72"/>
                    </a:cubicBezTo>
                    <a:cubicBezTo>
                      <a:pt x="105" y="81"/>
                      <a:pt x="93" y="111"/>
                      <a:pt x="80" y="141"/>
                    </a:cubicBezTo>
                    <a:cubicBezTo>
                      <a:pt x="78" y="148"/>
                      <a:pt x="75" y="154"/>
                      <a:pt x="74" y="156"/>
                    </a:cubicBezTo>
                    <a:cubicBezTo>
                      <a:pt x="71" y="165"/>
                      <a:pt x="66" y="171"/>
                      <a:pt x="60" y="173"/>
                    </a:cubicBezTo>
                    <a:close/>
                  </a:path>
                </a:pathLst>
              </a:custGeom>
              <a:solidFill>
                <a:schemeClr val="bg2"/>
              </a:solidFill>
              <a:ln>
                <a:noFill/>
              </a:ln>
            </p:spPr>
            <p:txBody>
              <a:bodyPr anchor="ctr"/>
              <a:lstStyle/>
              <a:p>
                <a:pPr algn="ctr"/>
                <a:endParaRPr/>
              </a:p>
            </p:txBody>
          </p:sp>
          <p:sp>
            <p:nvSpPr>
              <p:cNvPr id="35" name="íṣľíḍé"/>
              <p:cNvSpPr/>
              <p:nvPr/>
            </p:nvSpPr>
            <p:spPr bwMode="auto">
              <a:xfrm>
                <a:off x="7572822" y="1340838"/>
                <a:ext cx="518721" cy="625046"/>
              </a:xfrm>
              <a:custGeom>
                <a:avLst/>
                <a:gdLst>
                  <a:gd name="T0" fmla="*/ 60 w 146"/>
                  <a:gd name="T1" fmla="*/ 173 h 176"/>
                  <a:gd name="T2" fmla="*/ 40 w 146"/>
                  <a:gd name="T3" fmla="*/ 173 h 176"/>
                  <a:gd name="T4" fmla="*/ 38 w 146"/>
                  <a:gd name="T5" fmla="*/ 172 h 176"/>
                  <a:gd name="T6" fmla="*/ 17 w 146"/>
                  <a:gd name="T7" fmla="*/ 122 h 176"/>
                  <a:gd name="T8" fmla="*/ 40 w 146"/>
                  <a:gd name="T9" fmla="*/ 62 h 176"/>
                  <a:gd name="T10" fmla="*/ 55 w 146"/>
                  <a:gd name="T11" fmla="*/ 24 h 176"/>
                  <a:gd name="T12" fmla="*/ 103 w 146"/>
                  <a:gd name="T13" fmla="*/ 9 h 176"/>
                  <a:gd name="T14" fmla="*/ 141 w 146"/>
                  <a:gd name="T15" fmla="*/ 53 h 176"/>
                  <a:gd name="T16" fmla="*/ 108 w 146"/>
                  <a:gd name="T17" fmla="*/ 142 h 176"/>
                  <a:gd name="T18" fmla="*/ 98 w 146"/>
                  <a:gd name="T19" fmla="*/ 146 h 176"/>
                  <a:gd name="T20" fmla="*/ 94 w 146"/>
                  <a:gd name="T21" fmla="*/ 137 h 176"/>
                  <a:gd name="T22" fmla="*/ 127 w 146"/>
                  <a:gd name="T23" fmla="*/ 49 h 176"/>
                  <a:gd name="T24" fmla="*/ 98 w 146"/>
                  <a:gd name="T25" fmla="*/ 23 h 176"/>
                  <a:gd name="T26" fmla="*/ 69 w 146"/>
                  <a:gd name="T27" fmla="*/ 30 h 176"/>
                  <a:gd name="T28" fmla="*/ 54 w 146"/>
                  <a:gd name="T29" fmla="*/ 67 h 176"/>
                  <a:gd name="T30" fmla="*/ 30 w 146"/>
                  <a:gd name="T31" fmla="*/ 127 h 176"/>
                  <a:gd name="T32" fmla="*/ 44 w 146"/>
                  <a:gd name="T33" fmla="*/ 159 h 176"/>
                  <a:gd name="T34" fmla="*/ 45 w 146"/>
                  <a:gd name="T35" fmla="*/ 159 h 176"/>
                  <a:gd name="T36" fmla="*/ 61 w 146"/>
                  <a:gd name="T37" fmla="*/ 151 h 176"/>
                  <a:gd name="T38" fmla="*/ 67 w 146"/>
                  <a:gd name="T39" fmla="*/ 135 h 176"/>
                  <a:gd name="T40" fmla="*/ 93 w 146"/>
                  <a:gd name="T41" fmla="*/ 68 h 176"/>
                  <a:gd name="T42" fmla="*/ 91 w 146"/>
                  <a:gd name="T43" fmla="*/ 58 h 176"/>
                  <a:gd name="T44" fmla="*/ 82 w 146"/>
                  <a:gd name="T45" fmla="*/ 67 h 176"/>
                  <a:gd name="T46" fmla="*/ 57 w 146"/>
                  <a:gd name="T47" fmla="*/ 130 h 176"/>
                  <a:gd name="T48" fmla="*/ 48 w 146"/>
                  <a:gd name="T49" fmla="*/ 134 h 176"/>
                  <a:gd name="T50" fmla="*/ 44 w 146"/>
                  <a:gd name="T51" fmla="*/ 124 h 176"/>
                  <a:gd name="T52" fmla="*/ 68 w 146"/>
                  <a:gd name="T53" fmla="*/ 62 h 176"/>
                  <a:gd name="T54" fmla="*/ 96 w 146"/>
                  <a:gd name="T55" fmla="*/ 44 h 176"/>
                  <a:gd name="T56" fmla="*/ 107 w 146"/>
                  <a:gd name="T57" fmla="*/ 72 h 176"/>
                  <a:gd name="T58" fmla="*/ 80 w 146"/>
                  <a:gd name="T59" fmla="*/ 141 h 176"/>
                  <a:gd name="T60" fmla="*/ 74 w 146"/>
                  <a:gd name="T61" fmla="*/ 156 h 176"/>
                  <a:gd name="T62" fmla="*/ 60 w 146"/>
                  <a:gd name="T63" fmla="*/ 1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176">
                    <a:moveTo>
                      <a:pt x="60" y="173"/>
                    </a:moveTo>
                    <a:cubicBezTo>
                      <a:pt x="54" y="176"/>
                      <a:pt x="47" y="176"/>
                      <a:pt x="40" y="173"/>
                    </a:cubicBezTo>
                    <a:cubicBezTo>
                      <a:pt x="38" y="172"/>
                      <a:pt x="38" y="172"/>
                      <a:pt x="38" y="172"/>
                    </a:cubicBezTo>
                    <a:cubicBezTo>
                      <a:pt x="31" y="169"/>
                      <a:pt x="0" y="160"/>
                      <a:pt x="17" y="122"/>
                    </a:cubicBezTo>
                    <a:cubicBezTo>
                      <a:pt x="24" y="106"/>
                      <a:pt x="31" y="84"/>
                      <a:pt x="40" y="62"/>
                    </a:cubicBezTo>
                    <a:cubicBezTo>
                      <a:pt x="45" y="50"/>
                      <a:pt x="50" y="37"/>
                      <a:pt x="55" y="24"/>
                    </a:cubicBezTo>
                    <a:cubicBezTo>
                      <a:pt x="64" y="1"/>
                      <a:pt x="78" y="0"/>
                      <a:pt x="103" y="9"/>
                    </a:cubicBezTo>
                    <a:cubicBezTo>
                      <a:pt x="133" y="20"/>
                      <a:pt x="146" y="39"/>
                      <a:pt x="141" y="53"/>
                    </a:cubicBezTo>
                    <a:cubicBezTo>
                      <a:pt x="135" y="73"/>
                      <a:pt x="109" y="139"/>
                      <a:pt x="108" y="142"/>
                    </a:cubicBezTo>
                    <a:cubicBezTo>
                      <a:pt x="106" y="146"/>
                      <a:pt x="102" y="148"/>
                      <a:pt x="98" y="146"/>
                    </a:cubicBezTo>
                    <a:cubicBezTo>
                      <a:pt x="95" y="145"/>
                      <a:pt x="93" y="141"/>
                      <a:pt x="94" y="137"/>
                    </a:cubicBezTo>
                    <a:cubicBezTo>
                      <a:pt x="94" y="136"/>
                      <a:pt x="121" y="68"/>
                      <a:pt x="127" y="49"/>
                    </a:cubicBezTo>
                    <a:cubicBezTo>
                      <a:pt x="129" y="45"/>
                      <a:pt x="124" y="32"/>
                      <a:pt x="98" y="23"/>
                    </a:cubicBezTo>
                    <a:cubicBezTo>
                      <a:pt x="83" y="17"/>
                      <a:pt x="76" y="10"/>
                      <a:pt x="69" y="30"/>
                    </a:cubicBezTo>
                    <a:cubicBezTo>
                      <a:pt x="64" y="42"/>
                      <a:pt x="59" y="55"/>
                      <a:pt x="54" y="67"/>
                    </a:cubicBezTo>
                    <a:cubicBezTo>
                      <a:pt x="45" y="90"/>
                      <a:pt x="37" y="111"/>
                      <a:pt x="30" y="127"/>
                    </a:cubicBezTo>
                    <a:cubicBezTo>
                      <a:pt x="20" y="152"/>
                      <a:pt x="36" y="155"/>
                      <a:pt x="44" y="159"/>
                    </a:cubicBezTo>
                    <a:cubicBezTo>
                      <a:pt x="45" y="159"/>
                      <a:pt x="45" y="159"/>
                      <a:pt x="45" y="159"/>
                    </a:cubicBezTo>
                    <a:cubicBezTo>
                      <a:pt x="52" y="162"/>
                      <a:pt x="56" y="161"/>
                      <a:pt x="61" y="151"/>
                    </a:cubicBezTo>
                    <a:cubicBezTo>
                      <a:pt x="62" y="148"/>
                      <a:pt x="64" y="142"/>
                      <a:pt x="67" y="135"/>
                    </a:cubicBezTo>
                    <a:cubicBezTo>
                      <a:pt x="75" y="115"/>
                      <a:pt x="91" y="77"/>
                      <a:pt x="93" y="68"/>
                    </a:cubicBezTo>
                    <a:cubicBezTo>
                      <a:pt x="94" y="65"/>
                      <a:pt x="94" y="59"/>
                      <a:pt x="91" y="58"/>
                    </a:cubicBezTo>
                    <a:cubicBezTo>
                      <a:pt x="87" y="56"/>
                      <a:pt x="83" y="65"/>
                      <a:pt x="82" y="67"/>
                    </a:cubicBezTo>
                    <a:cubicBezTo>
                      <a:pt x="72" y="95"/>
                      <a:pt x="58" y="130"/>
                      <a:pt x="57" y="130"/>
                    </a:cubicBezTo>
                    <a:cubicBezTo>
                      <a:pt x="56" y="134"/>
                      <a:pt x="52" y="135"/>
                      <a:pt x="48" y="134"/>
                    </a:cubicBezTo>
                    <a:cubicBezTo>
                      <a:pt x="44" y="132"/>
                      <a:pt x="42" y="128"/>
                      <a:pt x="44" y="124"/>
                    </a:cubicBezTo>
                    <a:cubicBezTo>
                      <a:pt x="44" y="124"/>
                      <a:pt x="58" y="90"/>
                      <a:pt x="68" y="62"/>
                    </a:cubicBezTo>
                    <a:cubicBezTo>
                      <a:pt x="75" y="45"/>
                      <a:pt x="87" y="41"/>
                      <a:pt x="96" y="44"/>
                    </a:cubicBezTo>
                    <a:cubicBezTo>
                      <a:pt x="106" y="47"/>
                      <a:pt x="110" y="62"/>
                      <a:pt x="107" y="72"/>
                    </a:cubicBezTo>
                    <a:cubicBezTo>
                      <a:pt x="105" y="81"/>
                      <a:pt x="93" y="111"/>
                      <a:pt x="80" y="141"/>
                    </a:cubicBezTo>
                    <a:cubicBezTo>
                      <a:pt x="78" y="148"/>
                      <a:pt x="75" y="154"/>
                      <a:pt x="74" y="156"/>
                    </a:cubicBezTo>
                    <a:cubicBezTo>
                      <a:pt x="71" y="165"/>
                      <a:pt x="66" y="171"/>
                      <a:pt x="60" y="173"/>
                    </a:cubicBezTo>
                    <a:close/>
                  </a:path>
                </a:pathLst>
              </a:custGeom>
              <a:solidFill>
                <a:schemeClr val="bg2"/>
              </a:solidFill>
              <a:ln>
                <a:noFill/>
              </a:ln>
            </p:spPr>
            <p:txBody>
              <a:bodyPr anchor="ctr"/>
              <a:lstStyle/>
              <a:p>
                <a:pPr algn="ctr"/>
                <a:endParaRPr/>
              </a:p>
            </p:txBody>
          </p:sp>
          <p:sp>
            <p:nvSpPr>
              <p:cNvPr id="36" name="íSļïḑe"/>
              <p:cNvSpPr/>
              <p:nvPr/>
            </p:nvSpPr>
            <p:spPr bwMode="auto">
              <a:xfrm>
                <a:off x="3965942" y="3525903"/>
                <a:ext cx="969671" cy="969923"/>
              </a:xfrm>
              <a:custGeom>
                <a:avLst/>
                <a:gdLst>
                  <a:gd name="T0" fmla="*/ 122 w 243"/>
                  <a:gd name="T1" fmla="*/ 0 h 243"/>
                  <a:gd name="T2" fmla="*/ 0 w 243"/>
                  <a:gd name="T3" fmla="*/ 121 h 243"/>
                  <a:gd name="T4" fmla="*/ 122 w 243"/>
                  <a:gd name="T5" fmla="*/ 243 h 243"/>
                  <a:gd name="T6" fmla="*/ 243 w 243"/>
                  <a:gd name="T7" fmla="*/ 121 h 243"/>
                  <a:gd name="T8" fmla="*/ 122 w 243"/>
                  <a:gd name="T9" fmla="*/ 0 h 243"/>
                  <a:gd name="T10" fmla="*/ 154 w 243"/>
                  <a:gd name="T11" fmla="*/ 121 h 243"/>
                  <a:gd name="T12" fmla="*/ 133 w 243"/>
                  <a:gd name="T13" fmla="*/ 121 h 243"/>
                  <a:gd name="T14" fmla="*/ 133 w 243"/>
                  <a:gd name="T15" fmla="*/ 196 h 243"/>
                  <a:gd name="T16" fmla="*/ 102 w 243"/>
                  <a:gd name="T17" fmla="*/ 196 h 243"/>
                  <a:gd name="T18" fmla="*/ 102 w 243"/>
                  <a:gd name="T19" fmla="*/ 121 h 243"/>
                  <a:gd name="T20" fmla="*/ 87 w 243"/>
                  <a:gd name="T21" fmla="*/ 121 h 243"/>
                  <a:gd name="T22" fmla="*/ 87 w 243"/>
                  <a:gd name="T23" fmla="*/ 94 h 243"/>
                  <a:gd name="T24" fmla="*/ 102 w 243"/>
                  <a:gd name="T25" fmla="*/ 94 h 243"/>
                  <a:gd name="T26" fmla="*/ 102 w 243"/>
                  <a:gd name="T27" fmla="*/ 77 h 243"/>
                  <a:gd name="T28" fmla="*/ 133 w 243"/>
                  <a:gd name="T29" fmla="*/ 46 h 243"/>
                  <a:gd name="T30" fmla="*/ 156 w 243"/>
                  <a:gd name="T31" fmla="*/ 46 h 243"/>
                  <a:gd name="T32" fmla="*/ 156 w 243"/>
                  <a:gd name="T33" fmla="*/ 72 h 243"/>
                  <a:gd name="T34" fmla="*/ 140 w 243"/>
                  <a:gd name="T35" fmla="*/ 72 h 243"/>
                  <a:gd name="T36" fmla="*/ 133 w 243"/>
                  <a:gd name="T37" fmla="*/ 79 h 243"/>
                  <a:gd name="T38" fmla="*/ 133 w 243"/>
                  <a:gd name="T39" fmla="*/ 94 h 243"/>
                  <a:gd name="T40" fmla="*/ 157 w 243"/>
                  <a:gd name="T41" fmla="*/ 94 h 243"/>
                  <a:gd name="T42" fmla="*/ 154 w 243"/>
                  <a:gd name="T43" fmla="*/ 1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43">
                    <a:moveTo>
                      <a:pt x="122" y="0"/>
                    </a:moveTo>
                    <a:cubicBezTo>
                      <a:pt x="55" y="0"/>
                      <a:pt x="0" y="54"/>
                      <a:pt x="0" y="121"/>
                    </a:cubicBezTo>
                    <a:cubicBezTo>
                      <a:pt x="0" y="188"/>
                      <a:pt x="55" y="243"/>
                      <a:pt x="122" y="243"/>
                    </a:cubicBezTo>
                    <a:cubicBezTo>
                      <a:pt x="189" y="243"/>
                      <a:pt x="243" y="188"/>
                      <a:pt x="243" y="121"/>
                    </a:cubicBezTo>
                    <a:cubicBezTo>
                      <a:pt x="243" y="54"/>
                      <a:pt x="189" y="0"/>
                      <a:pt x="122" y="0"/>
                    </a:cubicBezTo>
                    <a:close/>
                    <a:moveTo>
                      <a:pt x="154" y="121"/>
                    </a:moveTo>
                    <a:cubicBezTo>
                      <a:pt x="133" y="121"/>
                      <a:pt x="133" y="121"/>
                      <a:pt x="133" y="121"/>
                    </a:cubicBezTo>
                    <a:cubicBezTo>
                      <a:pt x="133" y="154"/>
                      <a:pt x="133" y="196"/>
                      <a:pt x="133" y="196"/>
                    </a:cubicBezTo>
                    <a:cubicBezTo>
                      <a:pt x="102" y="196"/>
                      <a:pt x="102" y="196"/>
                      <a:pt x="102" y="196"/>
                    </a:cubicBezTo>
                    <a:cubicBezTo>
                      <a:pt x="102" y="196"/>
                      <a:pt x="102" y="155"/>
                      <a:pt x="102" y="121"/>
                    </a:cubicBezTo>
                    <a:cubicBezTo>
                      <a:pt x="87" y="121"/>
                      <a:pt x="87" y="121"/>
                      <a:pt x="87" y="121"/>
                    </a:cubicBezTo>
                    <a:cubicBezTo>
                      <a:pt x="87" y="94"/>
                      <a:pt x="87" y="94"/>
                      <a:pt x="87" y="94"/>
                    </a:cubicBezTo>
                    <a:cubicBezTo>
                      <a:pt x="102" y="94"/>
                      <a:pt x="102" y="94"/>
                      <a:pt x="102" y="94"/>
                    </a:cubicBezTo>
                    <a:cubicBezTo>
                      <a:pt x="102" y="77"/>
                      <a:pt x="102" y="77"/>
                      <a:pt x="102" y="77"/>
                    </a:cubicBezTo>
                    <a:cubicBezTo>
                      <a:pt x="102" y="65"/>
                      <a:pt x="108" y="46"/>
                      <a:pt x="133" y="46"/>
                    </a:cubicBezTo>
                    <a:cubicBezTo>
                      <a:pt x="156" y="46"/>
                      <a:pt x="156" y="46"/>
                      <a:pt x="156" y="46"/>
                    </a:cubicBezTo>
                    <a:cubicBezTo>
                      <a:pt x="156" y="72"/>
                      <a:pt x="156" y="72"/>
                      <a:pt x="156" y="72"/>
                    </a:cubicBezTo>
                    <a:cubicBezTo>
                      <a:pt x="156" y="72"/>
                      <a:pt x="142" y="72"/>
                      <a:pt x="140" y="72"/>
                    </a:cubicBezTo>
                    <a:cubicBezTo>
                      <a:pt x="137" y="72"/>
                      <a:pt x="133" y="73"/>
                      <a:pt x="133" y="79"/>
                    </a:cubicBezTo>
                    <a:cubicBezTo>
                      <a:pt x="133" y="94"/>
                      <a:pt x="133" y="94"/>
                      <a:pt x="133" y="94"/>
                    </a:cubicBezTo>
                    <a:cubicBezTo>
                      <a:pt x="157" y="94"/>
                      <a:pt x="157" y="94"/>
                      <a:pt x="157" y="94"/>
                    </a:cubicBezTo>
                    <a:lnTo>
                      <a:pt x="154" y="121"/>
                    </a:lnTo>
                    <a:close/>
                  </a:path>
                </a:pathLst>
              </a:custGeom>
              <a:solidFill>
                <a:schemeClr val="bg2"/>
              </a:solidFill>
              <a:ln>
                <a:noFill/>
              </a:ln>
            </p:spPr>
            <p:txBody>
              <a:bodyPr anchor="ctr"/>
              <a:lstStyle/>
              <a:p>
                <a:pPr algn="ctr"/>
                <a:endParaRPr/>
              </a:p>
            </p:txBody>
          </p:sp>
          <p:sp>
            <p:nvSpPr>
              <p:cNvPr id="37" name="iṥ1íḍé"/>
              <p:cNvSpPr/>
              <p:nvPr/>
            </p:nvSpPr>
            <p:spPr bwMode="auto">
              <a:xfrm>
                <a:off x="7086476" y="2860207"/>
                <a:ext cx="561866" cy="746328"/>
              </a:xfrm>
              <a:custGeom>
                <a:avLst/>
                <a:gdLst>
                  <a:gd name="T0" fmla="*/ 3 w 141"/>
                  <a:gd name="T1" fmla="*/ 157 h 187"/>
                  <a:gd name="T2" fmla="*/ 3 w 141"/>
                  <a:gd name="T3" fmla="*/ 155 h 187"/>
                  <a:gd name="T4" fmla="*/ 36 w 141"/>
                  <a:gd name="T5" fmla="*/ 131 h 187"/>
                  <a:gd name="T6" fmla="*/ 38 w 141"/>
                  <a:gd name="T7" fmla="*/ 130 h 187"/>
                  <a:gd name="T8" fmla="*/ 60 w 141"/>
                  <a:gd name="T9" fmla="*/ 139 h 187"/>
                  <a:gd name="T10" fmla="*/ 87 w 141"/>
                  <a:gd name="T11" fmla="*/ 105 h 187"/>
                  <a:gd name="T12" fmla="*/ 99 w 141"/>
                  <a:gd name="T13" fmla="*/ 65 h 187"/>
                  <a:gd name="T14" fmla="*/ 79 w 141"/>
                  <a:gd name="T15" fmla="*/ 50 h 187"/>
                  <a:gd name="T16" fmla="*/ 80 w 141"/>
                  <a:gd name="T17" fmla="*/ 10 h 187"/>
                  <a:gd name="T18" fmla="*/ 82 w 141"/>
                  <a:gd name="T19" fmla="*/ 8 h 187"/>
                  <a:gd name="T20" fmla="*/ 96 w 141"/>
                  <a:gd name="T21" fmla="*/ 0 h 187"/>
                  <a:gd name="T22" fmla="*/ 100 w 141"/>
                  <a:gd name="T23" fmla="*/ 1 h 187"/>
                  <a:gd name="T24" fmla="*/ 123 w 141"/>
                  <a:gd name="T25" fmla="*/ 15 h 187"/>
                  <a:gd name="T26" fmla="*/ 113 w 141"/>
                  <a:gd name="T27" fmla="*/ 123 h 187"/>
                  <a:gd name="T28" fmla="*/ 32 w 141"/>
                  <a:gd name="T29" fmla="*/ 187 h 187"/>
                  <a:gd name="T30" fmla="*/ 32 w 141"/>
                  <a:gd name="T31" fmla="*/ 187 h 187"/>
                  <a:gd name="T32" fmla="*/ 31 w 141"/>
                  <a:gd name="T33" fmla="*/ 187 h 187"/>
                  <a:gd name="T34" fmla="*/ 7 w 141"/>
                  <a:gd name="T35" fmla="*/ 176 h 187"/>
                  <a:gd name="T36" fmla="*/ 3 w 141"/>
                  <a:gd name="T37" fmla="*/ 15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1" h="187">
                    <a:moveTo>
                      <a:pt x="3" y="157"/>
                    </a:moveTo>
                    <a:cubicBezTo>
                      <a:pt x="3" y="155"/>
                      <a:pt x="3" y="155"/>
                      <a:pt x="3" y="155"/>
                    </a:cubicBezTo>
                    <a:cubicBezTo>
                      <a:pt x="4" y="148"/>
                      <a:pt x="33" y="131"/>
                      <a:pt x="36" y="131"/>
                    </a:cubicBezTo>
                    <a:cubicBezTo>
                      <a:pt x="38" y="130"/>
                      <a:pt x="38" y="130"/>
                      <a:pt x="38" y="130"/>
                    </a:cubicBezTo>
                    <a:cubicBezTo>
                      <a:pt x="42" y="130"/>
                      <a:pt x="48" y="133"/>
                      <a:pt x="60" y="139"/>
                    </a:cubicBezTo>
                    <a:cubicBezTo>
                      <a:pt x="70" y="132"/>
                      <a:pt x="82" y="114"/>
                      <a:pt x="87" y="105"/>
                    </a:cubicBezTo>
                    <a:cubicBezTo>
                      <a:pt x="92" y="94"/>
                      <a:pt x="99" y="77"/>
                      <a:pt x="99" y="65"/>
                    </a:cubicBezTo>
                    <a:cubicBezTo>
                      <a:pt x="86" y="58"/>
                      <a:pt x="80" y="55"/>
                      <a:pt x="79" y="50"/>
                    </a:cubicBezTo>
                    <a:cubicBezTo>
                      <a:pt x="78" y="48"/>
                      <a:pt x="76" y="14"/>
                      <a:pt x="80" y="10"/>
                    </a:cubicBezTo>
                    <a:cubicBezTo>
                      <a:pt x="82" y="8"/>
                      <a:pt x="82" y="8"/>
                      <a:pt x="82" y="8"/>
                    </a:cubicBezTo>
                    <a:cubicBezTo>
                      <a:pt x="85" y="5"/>
                      <a:pt x="89" y="0"/>
                      <a:pt x="96" y="0"/>
                    </a:cubicBezTo>
                    <a:cubicBezTo>
                      <a:pt x="97" y="0"/>
                      <a:pt x="99" y="0"/>
                      <a:pt x="100" y="1"/>
                    </a:cubicBezTo>
                    <a:cubicBezTo>
                      <a:pt x="105" y="2"/>
                      <a:pt x="117" y="7"/>
                      <a:pt x="123" y="15"/>
                    </a:cubicBezTo>
                    <a:cubicBezTo>
                      <a:pt x="127" y="20"/>
                      <a:pt x="141" y="70"/>
                      <a:pt x="113" y="123"/>
                    </a:cubicBezTo>
                    <a:cubicBezTo>
                      <a:pt x="85" y="174"/>
                      <a:pt x="39" y="187"/>
                      <a:pt x="32" y="187"/>
                    </a:cubicBezTo>
                    <a:cubicBezTo>
                      <a:pt x="32" y="187"/>
                      <a:pt x="32" y="187"/>
                      <a:pt x="32" y="187"/>
                    </a:cubicBezTo>
                    <a:cubicBezTo>
                      <a:pt x="31" y="187"/>
                      <a:pt x="31" y="187"/>
                      <a:pt x="31" y="187"/>
                    </a:cubicBezTo>
                    <a:cubicBezTo>
                      <a:pt x="21" y="186"/>
                      <a:pt x="11" y="179"/>
                      <a:pt x="7" y="176"/>
                    </a:cubicBezTo>
                    <a:cubicBezTo>
                      <a:pt x="0" y="171"/>
                      <a:pt x="2" y="162"/>
                      <a:pt x="3" y="157"/>
                    </a:cubicBezTo>
                    <a:close/>
                  </a:path>
                </a:pathLst>
              </a:custGeom>
              <a:solidFill>
                <a:schemeClr val="bg2"/>
              </a:solidFill>
              <a:ln>
                <a:noFill/>
              </a:ln>
            </p:spPr>
            <p:txBody>
              <a:bodyPr anchor="ctr"/>
              <a:lstStyle/>
              <a:p>
                <a:pPr algn="ctr"/>
                <a:endParaRPr/>
              </a:p>
            </p:txBody>
          </p:sp>
          <p:sp>
            <p:nvSpPr>
              <p:cNvPr id="38" name="ïš1iḍé"/>
              <p:cNvSpPr/>
              <p:nvPr/>
            </p:nvSpPr>
            <p:spPr bwMode="auto">
              <a:xfrm>
                <a:off x="5358590" y="3378406"/>
                <a:ext cx="777851" cy="790139"/>
              </a:xfrm>
              <a:custGeom>
                <a:avLst/>
                <a:gdLst>
                  <a:gd name="T0" fmla="*/ 190 w 195"/>
                  <a:gd name="T1" fmla="*/ 120 h 198"/>
                  <a:gd name="T2" fmla="*/ 192 w 195"/>
                  <a:gd name="T3" fmla="*/ 100 h 198"/>
                  <a:gd name="T4" fmla="*/ 99 w 195"/>
                  <a:gd name="T5" fmla="*/ 7 h 198"/>
                  <a:gd name="T6" fmla="*/ 83 w 195"/>
                  <a:gd name="T7" fmla="*/ 8 h 198"/>
                  <a:gd name="T8" fmla="*/ 54 w 195"/>
                  <a:gd name="T9" fmla="*/ 0 h 198"/>
                  <a:gd name="T10" fmla="*/ 0 w 195"/>
                  <a:gd name="T11" fmla="*/ 54 h 198"/>
                  <a:gd name="T12" fmla="*/ 7 w 195"/>
                  <a:gd name="T13" fmla="*/ 81 h 198"/>
                  <a:gd name="T14" fmla="*/ 5 w 195"/>
                  <a:gd name="T15" fmla="*/ 100 h 198"/>
                  <a:gd name="T16" fmla="*/ 99 w 195"/>
                  <a:gd name="T17" fmla="*/ 193 h 198"/>
                  <a:gd name="T18" fmla="*/ 116 w 195"/>
                  <a:gd name="T19" fmla="*/ 192 h 198"/>
                  <a:gd name="T20" fmla="*/ 141 w 195"/>
                  <a:gd name="T21" fmla="*/ 198 h 198"/>
                  <a:gd name="T22" fmla="*/ 195 w 195"/>
                  <a:gd name="T23" fmla="*/ 144 h 198"/>
                  <a:gd name="T24" fmla="*/ 190 w 195"/>
                  <a:gd name="T25" fmla="*/ 120 h 198"/>
                  <a:gd name="T26" fmla="*/ 146 w 195"/>
                  <a:gd name="T27" fmla="*/ 145 h 198"/>
                  <a:gd name="T28" fmla="*/ 127 w 195"/>
                  <a:gd name="T29" fmla="*/ 159 h 198"/>
                  <a:gd name="T30" fmla="*/ 98 w 195"/>
                  <a:gd name="T31" fmla="*/ 164 h 198"/>
                  <a:gd name="T32" fmla="*/ 65 w 195"/>
                  <a:gd name="T33" fmla="*/ 157 h 198"/>
                  <a:gd name="T34" fmla="*/ 49 w 195"/>
                  <a:gd name="T35" fmla="*/ 144 h 198"/>
                  <a:gd name="T36" fmla="*/ 44 w 195"/>
                  <a:gd name="T37" fmla="*/ 127 h 198"/>
                  <a:gd name="T38" fmla="*/ 47 w 195"/>
                  <a:gd name="T39" fmla="*/ 118 h 198"/>
                  <a:gd name="T40" fmla="*/ 57 w 195"/>
                  <a:gd name="T41" fmla="*/ 114 h 198"/>
                  <a:gd name="T42" fmla="*/ 65 w 195"/>
                  <a:gd name="T43" fmla="*/ 117 h 198"/>
                  <a:gd name="T44" fmla="*/ 71 w 195"/>
                  <a:gd name="T45" fmla="*/ 125 h 198"/>
                  <a:gd name="T46" fmla="*/ 76 w 195"/>
                  <a:gd name="T47" fmla="*/ 135 h 198"/>
                  <a:gd name="T48" fmla="*/ 84 w 195"/>
                  <a:gd name="T49" fmla="*/ 141 h 198"/>
                  <a:gd name="T50" fmla="*/ 98 w 195"/>
                  <a:gd name="T51" fmla="*/ 143 h 198"/>
                  <a:gd name="T52" fmla="*/ 116 w 195"/>
                  <a:gd name="T53" fmla="*/ 138 h 198"/>
                  <a:gd name="T54" fmla="*/ 123 w 195"/>
                  <a:gd name="T55" fmla="*/ 127 h 198"/>
                  <a:gd name="T56" fmla="*/ 120 w 195"/>
                  <a:gd name="T57" fmla="*/ 118 h 198"/>
                  <a:gd name="T58" fmla="*/ 110 w 195"/>
                  <a:gd name="T59" fmla="*/ 112 h 198"/>
                  <a:gd name="T60" fmla="*/ 93 w 195"/>
                  <a:gd name="T61" fmla="*/ 108 h 198"/>
                  <a:gd name="T62" fmla="*/ 68 w 195"/>
                  <a:gd name="T63" fmla="*/ 101 h 198"/>
                  <a:gd name="T64" fmla="*/ 52 w 195"/>
                  <a:gd name="T65" fmla="*/ 89 h 198"/>
                  <a:gd name="T66" fmla="*/ 46 w 195"/>
                  <a:gd name="T67" fmla="*/ 70 h 198"/>
                  <a:gd name="T68" fmla="*/ 52 w 195"/>
                  <a:gd name="T69" fmla="*/ 51 h 198"/>
                  <a:gd name="T70" fmla="*/ 71 w 195"/>
                  <a:gd name="T71" fmla="*/ 39 h 198"/>
                  <a:gd name="T72" fmla="*/ 98 w 195"/>
                  <a:gd name="T73" fmla="*/ 35 h 198"/>
                  <a:gd name="T74" fmla="*/ 120 w 195"/>
                  <a:gd name="T75" fmla="*/ 37 h 198"/>
                  <a:gd name="T76" fmla="*/ 135 w 195"/>
                  <a:gd name="T77" fmla="*/ 45 h 198"/>
                  <a:gd name="T78" fmla="*/ 144 w 195"/>
                  <a:gd name="T79" fmla="*/ 55 h 198"/>
                  <a:gd name="T80" fmla="*/ 147 w 195"/>
                  <a:gd name="T81" fmla="*/ 66 h 198"/>
                  <a:gd name="T82" fmla="*/ 143 w 195"/>
                  <a:gd name="T83" fmla="*/ 75 h 198"/>
                  <a:gd name="T84" fmla="*/ 134 w 195"/>
                  <a:gd name="T85" fmla="*/ 79 h 198"/>
                  <a:gd name="T86" fmla="*/ 126 w 195"/>
                  <a:gd name="T87" fmla="*/ 76 h 198"/>
                  <a:gd name="T88" fmla="*/ 120 w 195"/>
                  <a:gd name="T89" fmla="*/ 69 h 198"/>
                  <a:gd name="T90" fmla="*/ 112 w 195"/>
                  <a:gd name="T91" fmla="*/ 59 h 198"/>
                  <a:gd name="T92" fmla="*/ 96 w 195"/>
                  <a:gd name="T93" fmla="*/ 55 h 198"/>
                  <a:gd name="T94" fmla="*/ 80 w 195"/>
                  <a:gd name="T95" fmla="*/ 59 h 198"/>
                  <a:gd name="T96" fmla="*/ 74 w 195"/>
                  <a:gd name="T97" fmla="*/ 68 h 198"/>
                  <a:gd name="T98" fmla="*/ 76 w 195"/>
                  <a:gd name="T99" fmla="*/ 73 h 198"/>
                  <a:gd name="T100" fmla="*/ 82 w 195"/>
                  <a:gd name="T101" fmla="*/ 78 h 198"/>
                  <a:gd name="T102" fmla="*/ 89 w 195"/>
                  <a:gd name="T103" fmla="*/ 81 h 198"/>
                  <a:gd name="T104" fmla="*/ 102 w 195"/>
                  <a:gd name="T105" fmla="*/ 84 h 198"/>
                  <a:gd name="T106" fmla="*/ 123 w 195"/>
                  <a:gd name="T107" fmla="*/ 89 h 198"/>
                  <a:gd name="T108" fmla="*/ 139 w 195"/>
                  <a:gd name="T109" fmla="*/ 96 h 198"/>
                  <a:gd name="T110" fmla="*/ 149 w 195"/>
                  <a:gd name="T111" fmla="*/ 108 h 198"/>
                  <a:gd name="T112" fmla="*/ 153 w 195"/>
                  <a:gd name="T113" fmla="*/ 124 h 198"/>
                  <a:gd name="T114" fmla="*/ 146 w 195"/>
                  <a:gd name="T115"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198">
                    <a:moveTo>
                      <a:pt x="190" y="120"/>
                    </a:moveTo>
                    <a:cubicBezTo>
                      <a:pt x="191" y="114"/>
                      <a:pt x="192" y="107"/>
                      <a:pt x="192" y="100"/>
                    </a:cubicBezTo>
                    <a:cubicBezTo>
                      <a:pt x="192" y="49"/>
                      <a:pt x="150" y="7"/>
                      <a:pt x="99" y="7"/>
                    </a:cubicBezTo>
                    <a:cubicBezTo>
                      <a:pt x="93" y="7"/>
                      <a:pt x="88" y="7"/>
                      <a:pt x="83" y="8"/>
                    </a:cubicBezTo>
                    <a:cubicBezTo>
                      <a:pt x="74" y="3"/>
                      <a:pt x="64" y="0"/>
                      <a:pt x="54" y="0"/>
                    </a:cubicBezTo>
                    <a:cubicBezTo>
                      <a:pt x="24" y="0"/>
                      <a:pt x="0" y="24"/>
                      <a:pt x="0" y="54"/>
                    </a:cubicBezTo>
                    <a:cubicBezTo>
                      <a:pt x="0" y="64"/>
                      <a:pt x="2" y="73"/>
                      <a:pt x="7" y="81"/>
                    </a:cubicBezTo>
                    <a:cubicBezTo>
                      <a:pt x="6" y="87"/>
                      <a:pt x="5" y="94"/>
                      <a:pt x="5" y="100"/>
                    </a:cubicBezTo>
                    <a:cubicBezTo>
                      <a:pt x="5" y="152"/>
                      <a:pt x="47" y="193"/>
                      <a:pt x="99" y="193"/>
                    </a:cubicBezTo>
                    <a:cubicBezTo>
                      <a:pt x="104" y="193"/>
                      <a:pt x="110" y="193"/>
                      <a:pt x="116" y="192"/>
                    </a:cubicBezTo>
                    <a:cubicBezTo>
                      <a:pt x="123" y="196"/>
                      <a:pt x="132" y="198"/>
                      <a:pt x="141" y="198"/>
                    </a:cubicBezTo>
                    <a:cubicBezTo>
                      <a:pt x="171" y="198"/>
                      <a:pt x="195" y="174"/>
                      <a:pt x="195" y="144"/>
                    </a:cubicBezTo>
                    <a:cubicBezTo>
                      <a:pt x="195" y="136"/>
                      <a:pt x="193" y="127"/>
                      <a:pt x="190" y="120"/>
                    </a:cubicBezTo>
                    <a:close/>
                    <a:moveTo>
                      <a:pt x="146" y="145"/>
                    </a:moveTo>
                    <a:cubicBezTo>
                      <a:pt x="142" y="151"/>
                      <a:pt x="136" y="156"/>
                      <a:pt x="127" y="159"/>
                    </a:cubicBezTo>
                    <a:cubicBezTo>
                      <a:pt x="119" y="163"/>
                      <a:pt x="109" y="164"/>
                      <a:pt x="98" y="164"/>
                    </a:cubicBezTo>
                    <a:cubicBezTo>
                      <a:pt x="85" y="164"/>
                      <a:pt x="74" y="162"/>
                      <a:pt x="65" y="157"/>
                    </a:cubicBezTo>
                    <a:cubicBezTo>
                      <a:pt x="59" y="154"/>
                      <a:pt x="53" y="149"/>
                      <a:pt x="49" y="144"/>
                    </a:cubicBezTo>
                    <a:cubicBezTo>
                      <a:pt x="46" y="138"/>
                      <a:pt x="44" y="132"/>
                      <a:pt x="44" y="127"/>
                    </a:cubicBezTo>
                    <a:cubicBezTo>
                      <a:pt x="44" y="123"/>
                      <a:pt x="45" y="120"/>
                      <a:pt x="47" y="118"/>
                    </a:cubicBezTo>
                    <a:cubicBezTo>
                      <a:pt x="50" y="116"/>
                      <a:pt x="53" y="114"/>
                      <a:pt x="57" y="114"/>
                    </a:cubicBezTo>
                    <a:cubicBezTo>
                      <a:pt x="60" y="114"/>
                      <a:pt x="63" y="115"/>
                      <a:pt x="65" y="117"/>
                    </a:cubicBezTo>
                    <a:cubicBezTo>
                      <a:pt x="68" y="119"/>
                      <a:pt x="69" y="122"/>
                      <a:pt x="71" y="125"/>
                    </a:cubicBezTo>
                    <a:cubicBezTo>
                      <a:pt x="72" y="129"/>
                      <a:pt x="74" y="132"/>
                      <a:pt x="76" y="135"/>
                    </a:cubicBezTo>
                    <a:cubicBezTo>
                      <a:pt x="78" y="137"/>
                      <a:pt x="81" y="139"/>
                      <a:pt x="84" y="141"/>
                    </a:cubicBezTo>
                    <a:cubicBezTo>
                      <a:pt x="87" y="142"/>
                      <a:pt x="92" y="143"/>
                      <a:pt x="98" y="143"/>
                    </a:cubicBezTo>
                    <a:cubicBezTo>
                      <a:pt x="105" y="143"/>
                      <a:pt x="112" y="142"/>
                      <a:pt x="116" y="138"/>
                    </a:cubicBezTo>
                    <a:cubicBezTo>
                      <a:pt x="121" y="135"/>
                      <a:pt x="123" y="131"/>
                      <a:pt x="123" y="127"/>
                    </a:cubicBezTo>
                    <a:cubicBezTo>
                      <a:pt x="123" y="123"/>
                      <a:pt x="122" y="120"/>
                      <a:pt x="120" y="118"/>
                    </a:cubicBezTo>
                    <a:cubicBezTo>
                      <a:pt x="117" y="115"/>
                      <a:pt x="114" y="114"/>
                      <a:pt x="110" y="112"/>
                    </a:cubicBezTo>
                    <a:cubicBezTo>
                      <a:pt x="105" y="111"/>
                      <a:pt x="100" y="110"/>
                      <a:pt x="93" y="108"/>
                    </a:cubicBezTo>
                    <a:cubicBezTo>
                      <a:pt x="83" y="106"/>
                      <a:pt x="75" y="104"/>
                      <a:pt x="68" y="101"/>
                    </a:cubicBezTo>
                    <a:cubicBezTo>
                      <a:pt x="61" y="98"/>
                      <a:pt x="56" y="94"/>
                      <a:pt x="52" y="89"/>
                    </a:cubicBezTo>
                    <a:cubicBezTo>
                      <a:pt x="48" y="84"/>
                      <a:pt x="46" y="78"/>
                      <a:pt x="46" y="70"/>
                    </a:cubicBezTo>
                    <a:cubicBezTo>
                      <a:pt x="46" y="63"/>
                      <a:pt x="48" y="57"/>
                      <a:pt x="52" y="51"/>
                    </a:cubicBezTo>
                    <a:cubicBezTo>
                      <a:pt x="57" y="46"/>
                      <a:pt x="63" y="42"/>
                      <a:pt x="71" y="39"/>
                    </a:cubicBezTo>
                    <a:cubicBezTo>
                      <a:pt x="78" y="36"/>
                      <a:pt x="87" y="35"/>
                      <a:pt x="98" y="35"/>
                    </a:cubicBezTo>
                    <a:cubicBezTo>
                      <a:pt x="106" y="35"/>
                      <a:pt x="114" y="35"/>
                      <a:pt x="120" y="37"/>
                    </a:cubicBezTo>
                    <a:cubicBezTo>
                      <a:pt x="126" y="39"/>
                      <a:pt x="131" y="42"/>
                      <a:pt x="135" y="45"/>
                    </a:cubicBezTo>
                    <a:cubicBezTo>
                      <a:pt x="139" y="48"/>
                      <a:pt x="142" y="52"/>
                      <a:pt x="144" y="55"/>
                    </a:cubicBezTo>
                    <a:cubicBezTo>
                      <a:pt x="146" y="59"/>
                      <a:pt x="147" y="62"/>
                      <a:pt x="147" y="66"/>
                    </a:cubicBezTo>
                    <a:cubicBezTo>
                      <a:pt x="147" y="69"/>
                      <a:pt x="146" y="72"/>
                      <a:pt x="143" y="75"/>
                    </a:cubicBezTo>
                    <a:cubicBezTo>
                      <a:pt x="141" y="78"/>
                      <a:pt x="137" y="79"/>
                      <a:pt x="134" y="79"/>
                    </a:cubicBezTo>
                    <a:cubicBezTo>
                      <a:pt x="130" y="79"/>
                      <a:pt x="128" y="78"/>
                      <a:pt x="126" y="76"/>
                    </a:cubicBezTo>
                    <a:cubicBezTo>
                      <a:pt x="124" y="75"/>
                      <a:pt x="122" y="72"/>
                      <a:pt x="120" y="69"/>
                    </a:cubicBezTo>
                    <a:cubicBezTo>
                      <a:pt x="118" y="65"/>
                      <a:pt x="115" y="61"/>
                      <a:pt x="112" y="59"/>
                    </a:cubicBezTo>
                    <a:cubicBezTo>
                      <a:pt x="109" y="56"/>
                      <a:pt x="103" y="55"/>
                      <a:pt x="96" y="55"/>
                    </a:cubicBezTo>
                    <a:cubicBezTo>
                      <a:pt x="89" y="55"/>
                      <a:pt x="84" y="56"/>
                      <a:pt x="80" y="59"/>
                    </a:cubicBezTo>
                    <a:cubicBezTo>
                      <a:pt x="76" y="62"/>
                      <a:pt x="74" y="65"/>
                      <a:pt x="74" y="68"/>
                    </a:cubicBezTo>
                    <a:cubicBezTo>
                      <a:pt x="74" y="70"/>
                      <a:pt x="75" y="72"/>
                      <a:pt x="76" y="73"/>
                    </a:cubicBezTo>
                    <a:cubicBezTo>
                      <a:pt x="77" y="75"/>
                      <a:pt x="79" y="76"/>
                      <a:pt x="82" y="78"/>
                    </a:cubicBezTo>
                    <a:cubicBezTo>
                      <a:pt x="84" y="79"/>
                      <a:pt x="87" y="80"/>
                      <a:pt x="89" y="81"/>
                    </a:cubicBezTo>
                    <a:cubicBezTo>
                      <a:pt x="92" y="81"/>
                      <a:pt x="96" y="82"/>
                      <a:pt x="102" y="84"/>
                    </a:cubicBezTo>
                    <a:cubicBezTo>
                      <a:pt x="110" y="85"/>
                      <a:pt x="117" y="87"/>
                      <a:pt x="123" y="89"/>
                    </a:cubicBezTo>
                    <a:cubicBezTo>
                      <a:pt x="129" y="91"/>
                      <a:pt x="134" y="94"/>
                      <a:pt x="139" y="96"/>
                    </a:cubicBezTo>
                    <a:cubicBezTo>
                      <a:pt x="143" y="99"/>
                      <a:pt x="147" y="103"/>
                      <a:pt x="149" y="108"/>
                    </a:cubicBezTo>
                    <a:cubicBezTo>
                      <a:pt x="152" y="112"/>
                      <a:pt x="153" y="118"/>
                      <a:pt x="153" y="124"/>
                    </a:cubicBezTo>
                    <a:cubicBezTo>
                      <a:pt x="153" y="132"/>
                      <a:pt x="151" y="139"/>
                      <a:pt x="146" y="145"/>
                    </a:cubicBezTo>
                    <a:close/>
                  </a:path>
                </a:pathLst>
              </a:custGeom>
              <a:solidFill>
                <a:schemeClr val="bg2"/>
              </a:solidFill>
              <a:ln>
                <a:noFill/>
              </a:ln>
            </p:spPr>
            <p:txBody>
              <a:bodyPr anchor="ctr"/>
              <a:lstStyle/>
              <a:p>
                <a:pPr algn="ctr"/>
                <a:endParaRPr/>
              </a:p>
            </p:txBody>
          </p:sp>
          <p:sp>
            <p:nvSpPr>
              <p:cNvPr id="39" name="íSļïḍê"/>
              <p:cNvSpPr/>
              <p:nvPr/>
            </p:nvSpPr>
            <p:spPr bwMode="auto">
              <a:xfrm>
                <a:off x="4185016" y="2281578"/>
                <a:ext cx="770299" cy="773521"/>
              </a:xfrm>
              <a:custGeom>
                <a:avLst/>
                <a:gdLst>
                  <a:gd name="T0" fmla="*/ 192 w 193"/>
                  <a:gd name="T1" fmla="*/ 81 h 194"/>
                  <a:gd name="T2" fmla="*/ 191 w 193"/>
                  <a:gd name="T3" fmla="*/ 77 h 194"/>
                  <a:gd name="T4" fmla="*/ 188 w 193"/>
                  <a:gd name="T5" fmla="*/ 75 h 194"/>
                  <a:gd name="T6" fmla="*/ 162 w 193"/>
                  <a:gd name="T7" fmla="*/ 71 h 194"/>
                  <a:gd name="T8" fmla="*/ 157 w 193"/>
                  <a:gd name="T9" fmla="*/ 54 h 194"/>
                  <a:gd name="T10" fmla="*/ 151 w 193"/>
                  <a:gd name="T11" fmla="*/ 34 h 194"/>
                  <a:gd name="T12" fmla="*/ 104 w 193"/>
                  <a:gd name="T13" fmla="*/ 0 h 194"/>
                  <a:gd name="T14" fmla="*/ 61 w 193"/>
                  <a:gd name="T15" fmla="*/ 0 h 194"/>
                  <a:gd name="T16" fmla="*/ 0 w 193"/>
                  <a:gd name="T17" fmla="*/ 61 h 194"/>
                  <a:gd name="T18" fmla="*/ 0 w 193"/>
                  <a:gd name="T19" fmla="*/ 133 h 194"/>
                  <a:gd name="T20" fmla="*/ 61 w 193"/>
                  <a:gd name="T21" fmla="*/ 194 h 194"/>
                  <a:gd name="T22" fmla="*/ 131 w 193"/>
                  <a:gd name="T23" fmla="*/ 194 h 194"/>
                  <a:gd name="T24" fmla="*/ 192 w 193"/>
                  <a:gd name="T25" fmla="*/ 133 h 194"/>
                  <a:gd name="T26" fmla="*/ 193 w 193"/>
                  <a:gd name="T27" fmla="*/ 83 h 194"/>
                  <a:gd name="T28" fmla="*/ 192 w 193"/>
                  <a:gd name="T29" fmla="*/ 81 h 194"/>
                  <a:gd name="T30" fmla="*/ 62 w 193"/>
                  <a:gd name="T31" fmla="*/ 50 h 194"/>
                  <a:gd name="T32" fmla="*/ 96 w 193"/>
                  <a:gd name="T33" fmla="*/ 50 h 194"/>
                  <a:gd name="T34" fmla="*/ 108 w 193"/>
                  <a:gd name="T35" fmla="*/ 62 h 194"/>
                  <a:gd name="T36" fmla="*/ 96 w 193"/>
                  <a:gd name="T37" fmla="*/ 73 h 194"/>
                  <a:gd name="T38" fmla="*/ 62 w 193"/>
                  <a:gd name="T39" fmla="*/ 73 h 194"/>
                  <a:gd name="T40" fmla="*/ 50 w 193"/>
                  <a:gd name="T41" fmla="*/ 62 h 194"/>
                  <a:gd name="T42" fmla="*/ 62 w 193"/>
                  <a:gd name="T43" fmla="*/ 50 h 194"/>
                  <a:gd name="T44" fmla="*/ 131 w 193"/>
                  <a:gd name="T45" fmla="*/ 143 h 194"/>
                  <a:gd name="T46" fmla="*/ 62 w 193"/>
                  <a:gd name="T47" fmla="*/ 143 h 194"/>
                  <a:gd name="T48" fmla="*/ 50 w 193"/>
                  <a:gd name="T49" fmla="*/ 132 h 194"/>
                  <a:gd name="T50" fmla="*/ 62 w 193"/>
                  <a:gd name="T51" fmla="*/ 120 h 194"/>
                  <a:gd name="T52" fmla="*/ 131 w 193"/>
                  <a:gd name="T53" fmla="*/ 120 h 194"/>
                  <a:gd name="T54" fmla="*/ 142 w 193"/>
                  <a:gd name="T55" fmla="*/ 132 h 194"/>
                  <a:gd name="T56" fmla="*/ 131 w 193"/>
                  <a:gd name="T57" fmla="*/ 14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194">
                    <a:moveTo>
                      <a:pt x="192" y="81"/>
                    </a:moveTo>
                    <a:cubicBezTo>
                      <a:pt x="191" y="77"/>
                      <a:pt x="191" y="77"/>
                      <a:pt x="191" y="77"/>
                    </a:cubicBezTo>
                    <a:cubicBezTo>
                      <a:pt x="188" y="75"/>
                      <a:pt x="188" y="75"/>
                      <a:pt x="188" y="75"/>
                    </a:cubicBezTo>
                    <a:cubicBezTo>
                      <a:pt x="184" y="72"/>
                      <a:pt x="166" y="75"/>
                      <a:pt x="162" y="71"/>
                    </a:cubicBezTo>
                    <a:cubicBezTo>
                      <a:pt x="158" y="68"/>
                      <a:pt x="158" y="62"/>
                      <a:pt x="157" y="54"/>
                    </a:cubicBezTo>
                    <a:cubicBezTo>
                      <a:pt x="155" y="39"/>
                      <a:pt x="153" y="39"/>
                      <a:pt x="151" y="34"/>
                    </a:cubicBezTo>
                    <a:cubicBezTo>
                      <a:pt x="143" y="16"/>
                      <a:pt x="120" y="2"/>
                      <a:pt x="104" y="0"/>
                    </a:cubicBezTo>
                    <a:cubicBezTo>
                      <a:pt x="61" y="0"/>
                      <a:pt x="61" y="0"/>
                      <a:pt x="61" y="0"/>
                    </a:cubicBezTo>
                    <a:cubicBezTo>
                      <a:pt x="28" y="0"/>
                      <a:pt x="0" y="28"/>
                      <a:pt x="0" y="61"/>
                    </a:cubicBezTo>
                    <a:cubicBezTo>
                      <a:pt x="0" y="133"/>
                      <a:pt x="0" y="133"/>
                      <a:pt x="0" y="133"/>
                    </a:cubicBezTo>
                    <a:cubicBezTo>
                      <a:pt x="0" y="166"/>
                      <a:pt x="28" y="194"/>
                      <a:pt x="61" y="194"/>
                    </a:cubicBezTo>
                    <a:cubicBezTo>
                      <a:pt x="131" y="194"/>
                      <a:pt x="131" y="194"/>
                      <a:pt x="131" y="194"/>
                    </a:cubicBezTo>
                    <a:cubicBezTo>
                      <a:pt x="165" y="194"/>
                      <a:pt x="192" y="166"/>
                      <a:pt x="192" y="133"/>
                    </a:cubicBezTo>
                    <a:cubicBezTo>
                      <a:pt x="193" y="83"/>
                      <a:pt x="193" y="83"/>
                      <a:pt x="193" y="83"/>
                    </a:cubicBezTo>
                    <a:lnTo>
                      <a:pt x="192" y="81"/>
                    </a:lnTo>
                    <a:close/>
                    <a:moveTo>
                      <a:pt x="62" y="50"/>
                    </a:moveTo>
                    <a:cubicBezTo>
                      <a:pt x="96" y="50"/>
                      <a:pt x="96" y="50"/>
                      <a:pt x="96" y="50"/>
                    </a:cubicBezTo>
                    <a:cubicBezTo>
                      <a:pt x="102" y="50"/>
                      <a:pt x="108" y="55"/>
                      <a:pt x="108" y="62"/>
                    </a:cubicBezTo>
                    <a:cubicBezTo>
                      <a:pt x="108" y="68"/>
                      <a:pt x="102" y="73"/>
                      <a:pt x="96" y="73"/>
                    </a:cubicBezTo>
                    <a:cubicBezTo>
                      <a:pt x="62" y="73"/>
                      <a:pt x="62" y="73"/>
                      <a:pt x="62" y="73"/>
                    </a:cubicBezTo>
                    <a:cubicBezTo>
                      <a:pt x="56" y="73"/>
                      <a:pt x="50" y="68"/>
                      <a:pt x="50" y="62"/>
                    </a:cubicBezTo>
                    <a:cubicBezTo>
                      <a:pt x="50" y="55"/>
                      <a:pt x="56" y="50"/>
                      <a:pt x="62" y="50"/>
                    </a:cubicBezTo>
                    <a:close/>
                    <a:moveTo>
                      <a:pt x="131" y="143"/>
                    </a:moveTo>
                    <a:cubicBezTo>
                      <a:pt x="62" y="143"/>
                      <a:pt x="62" y="143"/>
                      <a:pt x="62" y="143"/>
                    </a:cubicBezTo>
                    <a:cubicBezTo>
                      <a:pt x="56" y="143"/>
                      <a:pt x="50" y="138"/>
                      <a:pt x="50" y="132"/>
                    </a:cubicBezTo>
                    <a:cubicBezTo>
                      <a:pt x="50" y="125"/>
                      <a:pt x="56" y="120"/>
                      <a:pt x="62" y="120"/>
                    </a:cubicBezTo>
                    <a:cubicBezTo>
                      <a:pt x="131" y="120"/>
                      <a:pt x="131" y="120"/>
                      <a:pt x="131" y="120"/>
                    </a:cubicBezTo>
                    <a:cubicBezTo>
                      <a:pt x="137" y="120"/>
                      <a:pt x="142" y="125"/>
                      <a:pt x="142" y="132"/>
                    </a:cubicBezTo>
                    <a:cubicBezTo>
                      <a:pt x="142" y="138"/>
                      <a:pt x="137" y="143"/>
                      <a:pt x="131" y="143"/>
                    </a:cubicBezTo>
                    <a:close/>
                  </a:path>
                </a:pathLst>
              </a:custGeom>
              <a:solidFill>
                <a:schemeClr val="bg2"/>
              </a:solidFill>
              <a:ln>
                <a:noFill/>
              </a:ln>
            </p:spPr>
            <p:txBody>
              <a:bodyPr anchor="ctr"/>
              <a:lstStyle/>
              <a:p>
                <a:pPr algn="ctr"/>
                <a:endParaRPr/>
              </a:p>
            </p:txBody>
          </p:sp>
          <p:grpSp>
            <p:nvGrpSpPr>
              <p:cNvPr id="40" name="iš1idê"/>
              <p:cNvGrpSpPr/>
              <p:nvPr/>
            </p:nvGrpSpPr>
            <p:grpSpPr>
              <a:xfrm>
                <a:off x="5278539" y="749643"/>
                <a:ext cx="930401" cy="924598"/>
                <a:chOff x="2189163" y="538163"/>
                <a:chExt cx="977900" cy="971549"/>
              </a:xfrm>
              <a:solidFill>
                <a:schemeClr val="bg2"/>
              </a:solidFill>
            </p:grpSpPr>
            <p:sp>
              <p:nvSpPr>
                <p:cNvPr id="49" name="îṡ1ïdé"/>
                <p:cNvSpPr/>
                <p:nvPr/>
              </p:nvSpPr>
              <p:spPr bwMode="auto">
                <a:xfrm>
                  <a:off x="2189163" y="538163"/>
                  <a:ext cx="733425" cy="677862"/>
                </a:xfrm>
                <a:custGeom>
                  <a:avLst/>
                  <a:gdLst>
                    <a:gd name="T0" fmla="*/ 75 w 175"/>
                    <a:gd name="T1" fmla="*/ 162 h 162"/>
                    <a:gd name="T2" fmla="*/ 87 w 175"/>
                    <a:gd name="T3" fmla="*/ 152 h 162"/>
                    <a:gd name="T4" fmla="*/ 76 w 175"/>
                    <a:gd name="T5" fmla="*/ 142 h 162"/>
                    <a:gd name="T6" fmla="*/ 69 w 175"/>
                    <a:gd name="T7" fmla="*/ 142 h 162"/>
                    <a:gd name="T8" fmla="*/ 37 w 175"/>
                    <a:gd name="T9" fmla="*/ 109 h 162"/>
                    <a:gd name="T10" fmla="*/ 70 w 175"/>
                    <a:gd name="T11" fmla="*/ 78 h 162"/>
                    <a:gd name="T12" fmla="*/ 114 w 175"/>
                    <a:gd name="T13" fmla="*/ 78 h 162"/>
                    <a:gd name="T14" fmla="*/ 146 w 175"/>
                    <a:gd name="T15" fmla="*/ 110 h 162"/>
                    <a:gd name="T16" fmla="*/ 146 w 175"/>
                    <a:gd name="T17" fmla="*/ 151 h 162"/>
                    <a:gd name="T18" fmla="*/ 158 w 175"/>
                    <a:gd name="T19" fmla="*/ 162 h 162"/>
                    <a:gd name="T20" fmla="*/ 163 w 175"/>
                    <a:gd name="T21" fmla="*/ 162 h 162"/>
                    <a:gd name="T22" fmla="*/ 175 w 175"/>
                    <a:gd name="T23" fmla="*/ 151 h 162"/>
                    <a:gd name="T24" fmla="*/ 175 w 175"/>
                    <a:gd name="T25" fmla="*/ 15 h 162"/>
                    <a:gd name="T26" fmla="*/ 117 w 175"/>
                    <a:gd name="T27" fmla="*/ 0 h 162"/>
                    <a:gd name="T28" fmla="*/ 0 w 175"/>
                    <a:gd name="T29" fmla="*/ 116 h 162"/>
                    <a:gd name="T30" fmla="*/ 10 w 175"/>
                    <a:gd name="T31" fmla="*/ 162 h 162"/>
                    <a:gd name="T32" fmla="*/ 75 w 175"/>
                    <a:gd name="T33"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62">
                      <a:moveTo>
                        <a:pt x="75" y="162"/>
                      </a:moveTo>
                      <a:cubicBezTo>
                        <a:pt x="82" y="162"/>
                        <a:pt x="87" y="158"/>
                        <a:pt x="87" y="152"/>
                      </a:cubicBezTo>
                      <a:cubicBezTo>
                        <a:pt x="87" y="147"/>
                        <a:pt x="82" y="143"/>
                        <a:pt x="76" y="142"/>
                      </a:cubicBezTo>
                      <a:cubicBezTo>
                        <a:pt x="69" y="142"/>
                        <a:pt x="69" y="142"/>
                        <a:pt x="69" y="142"/>
                      </a:cubicBezTo>
                      <a:cubicBezTo>
                        <a:pt x="52" y="141"/>
                        <a:pt x="37" y="126"/>
                        <a:pt x="37" y="109"/>
                      </a:cubicBezTo>
                      <a:cubicBezTo>
                        <a:pt x="37" y="92"/>
                        <a:pt x="52" y="78"/>
                        <a:pt x="70" y="78"/>
                      </a:cubicBezTo>
                      <a:cubicBezTo>
                        <a:pt x="114" y="78"/>
                        <a:pt x="114" y="78"/>
                        <a:pt x="114" y="78"/>
                      </a:cubicBezTo>
                      <a:cubicBezTo>
                        <a:pt x="132" y="78"/>
                        <a:pt x="146" y="92"/>
                        <a:pt x="146" y="110"/>
                      </a:cubicBezTo>
                      <a:cubicBezTo>
                        <a:pt x="146" y="151"/>
                        <a:pt x="146" y="151"/>
                        <a:pt x="146" y="151"/>
                      </a:cubicBezTo>
                      <a:cubicBezTo>
                        <a:pt x="146" y="157"/>
                        <a:pt x="152" y="162"/>
                        <a:pt x="158" y="162"/>
                      </a:cubicBezTo>
                      <a:cubicBezTo>
                        <a:pt x="163" y="162"/>
                        <a:pt x="163" y="162"/>
                        <a:pt x="163" y="162"/>
                      </a:cubicBezTo>
                      <a:cubicBezTo>
                        <a:pt x="169" y="162"/>
                        <a:pt x="175" y="157"/>
                        <a:pt x="175" y="151"/>
                      </a:cubicBezTo>
                      <a:cubicBezTo>
                        <a:pt x="175" y="15"/>
                        <a:pt x="175" y="15"/>
                        <a:pt x="175" y="15"/>
                      </a:cubicBezTo>
                      <a:cubicBezTo>
                        <a:pt x="158" y="5"/>
                        <a:pt x="138" y="0"/>
                        <a:pt x="117" y="0"/>
                      </a:cubicBezTo>
                      <a:cubicBezTo>
                        <a:pt x="52" y="0"/>
                        <a:pt x="0" y="52"/>
                        <a:pt x="0" y="116"/>
                      </a:cubicBezTo>
                      <a:cubicBezTo>
                        <a:pt x="0" y="132"/>
                        <a:pt x="4" y="148"/>
                        <a:pt x="10" y="162"/>
                      </a:cubicBezTo>
                      <a:lnTo>
                        <a:pt x="75" y="162"/>
                      </a:lnTo>
                      <a:close/>
                    </a:path>
                  </a:pathLst>
                </a:custGeom>
                <a:grpFill/>
                <a:ln>
                  <a:noFill/>
                </a:ln>
              </p:spPr>
              <p:txBody>
                <a:bodyPr anchor="ctr"/>
                <a:lstStyle/>
                <a:p>
                  <a:pPr algn="ctr"/>
                  <a:endParaRPr/>
                </a:p>
              </p:txBody>
            </p:sp>
            <p:sp>
              <p:nvSpPr>
                <p:cNvPr id="50" name="ïšḷïḓè"/>
                <p:cNvSpPr/>
                <p:nvPr/>
              </p:nvSpPr>
              <p:spPr bwMode="auto">
                <a:xfrm>
                  <a:off x="2281238" y="666750"/>
                  <a:ext cx="885825" cy="842962"/>
                </a:xfrm>
                <a:custGeom>
                  <a:avLst/>
                  <a:gdLst>
                    <a:gd name="T0" fmla="*/ 174 w 211"/>
                    <a:gd name="T1" fmla="*/ 0 h 201"/>
                    <a:gd name="T2" fmla="*/ 174 w 211"/>
                    <a:gd name="T3" fmla="*/ 120 h 201"/>
                    <a:gd name="T4" fmla="*/ 141 w 211"/>
                    <a:gd name="T5" fmla="*/ 152 h 201"/>
                    <a:gd name="T6" fmla="*/ 136 w 211"/>
                    <a:gd name="T7" fmla="*/ 152 h 201"/>
                    <a:gd name="T8" fmla="*/ 103 w 211"/>
                    <a:gd name="T9" fmla="*/ 120 h 201"/>
                    <a:gd name="T10" fmla="*/ 103 w 211"/>
                    <a:gd name="T11" fmla="*/ 79 h 201"/>
                    <a:gd name="T12" fmla="*/ 92 w 211"/>
                    <a:gd name="T13" fmla="*/ 67 h 201"/>
                    <a:gd name="T14" fmla="*/ 48 w 211"/>
                    <a:gd name="T15" fmla="*/ 67 h 201"/>
                    <a:gd name="T16" fmla="*/ 36 w 211"/>
                    <a:gd name="T17" fmla="*/ 78 h 201"/>
                    <a:gd name="T18" fmla="*/ 48 w 211"/>
                    <a:gd name="T19" fmla="*/ 90 h 201"/>
                    <a:gd name="T20" fmla="*/ 55 w 211"/>
                    <a:gd name="T21" fmla="*/ 90 h 201"/>
                    <a:gd name="T22" fmla="*/ 86 w 211"/>
                    <a:gd name="T23" fmla="*/ 122 h 201"/>
                    <a:gd name="T24" fmla="*/ 53 w 211"/>
                    <a:gd name="T25" fmla="*/ 152 h 201"/>
                    <a:gd name="T26" fmla="*/ 0 w 211"/>
                    <a:gd name="T27" fmla="*/ 152 h 201"/>
                    <a:gd name="T28" fmla="*/ 95 w 211"/>
                    <a:gd name="T29" fmla="*/ 201 h 201"/>
                    <a:gd name="T30" fmla="*/ 211 w 211"/>
                    <a:gd name="T31" fmla="*/ 85 h 201"/>
                    <a:gd name="T32" fmla="*/ 174 w 211"/>
                    <a:gd name="T3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1" h="201">
                      <a:moveTo>
                        <a:pt x="174" y="0"/>
                      </a:moveTo>
                      <a:cubicBezTo>
                        <a:pt x="174" y="120"/>
                        <a:pt x="174" y="120"/>
                        <a:pt x="174" y="120"/>
                      </a:cubicBezTo>
                      <a:cubicBezTo>
                        <a:pt x="174" y="138"/>
                        <a:pt x="159" y="152"/>
                        <a:pt x="141" y="152"/>
                      </a:cubicBezTo>
                      <a:cubicBezTo>
                        <a:pt x="136" y="152"/>
                        <a:pt x="136" y="152"/>
                        <a:pt x="136" y="152"/>
                      </a:cubicBezTo>
                      <a:cubicBezTo>
                        <a:pt x="118" y="152"/>
                        <a:pt x="103" y="138"/>
                        <a:pt x="103" y="120"/>
                      </a:cubicBezTo>
                      <a:cubicBezTo>
                        <a:pt x="103" y="79"/>
                        <a:pt x="103" y="79"/>
                        <a:pt x="103" y="79"/>
                      </a:cubicBezTo>
                      <a:cubicBezTo>
                        <a:pt x="103" y="73"/>
                        <a:pt x="98" y="67"/>
                        <a:pt x="92" y="67"/>
                      </a:cubicBezTo>
                      <a:cubicBezTo>
                        <a:pt x="48" y="67"/>
                        <a:pt x="48" y="67"/>
                        <a:pt x="48" y="67"/>
                      </a:cubicBezTo>
                      <a:cubicBezTo>
                        <a:pt x="42" y="67"/>
                        <a:pt x="36" y="72"/>
                        <a:pt x="36" y="78"/>
                      </a:cubicBezTo>
                      <a:cubicBezTo>
                        <a:pt x="36" y="84"/>
                        <a:pt x="42" y="90"/>
                        <a:pt x="48" y="90"/>
                      </a:cubicBezTo>
                      <a:cubicBezTo>
                        <a:pt x="55" y="90"/>
                        <a:pt x="55" y="90"/>
                        <a:pt x="55" y="90"/>
                      </a:cubicBezTo>
                      <a:cubicBezTo>
                        <a:pt x="73" y="91"/>
                        <a:pt x="87" y="106"/>
                        <a:pt x="86" y="122"/>
                      </a:cubicBezTo>
                      <a:cubicBezTo>
                        <a:pt x="86" y="139"/>
                        <a:pt x="71" y="152"/>
                        <a:pt x="53" y="152"/>
                      </a:cubicBezTo>
                      <a:cubicBezTo>
                        <a:pt x="0" y="152"/>
                        <a:pt x="0" y="152"/>
                        <a:pt x="0" y="152"/>
                      </a:cubicBezTo>
                      <a:cubicBezTo>
                        <a:pt x="21" y="182"/>
                        <a:pt x="55" y="201"/>
                        <a:pt x="95" y="201"/>
                      </a:cubicBezTo>
                      <a:cubicBezTo>
                        <a:pt x="159" y="201"/>
                        <a:pt x="211" y="149"/>
                        <a:pt x="211" y="85"/>
                      </a:cubicBezTo>
                      <a:cubicBezTo>
                        <a:pt x="211" y="51"/>
                        <a:pt x="197" y="21"/>
                        <a:pt x="174" y="0"/>
                      </a:cubicBezTo>
                      <a:close/>
                    </a:path>
                  </a:pathLst>
                </a:custGeom>
                <a:grpFill/>
                <a:ln>
                  <a:noFill/>
                </a:ln>
              </p:spPr>
              <p:txBody>
                <a:bodyPr anchor="ctr"/>
                <a:lstStyle/>
                <a:p>
                  <a:pPr algn="ctr"/>
                  <a:endParaRPr/>
                </a:p>
              </p:txBody>
            </p:sp>
          </p:grpSp>
          <p:sp>
            <p:nvSpPr>
              <p:cNvPr id="41" name="íṥľiďè"/>
              <p:cNvSpPr/>
              <p:nvPr/>
            </p:nvSpPr>
            <p:spPr bwMode="auto">
              <a:xfrm>
                <a:off x="6264454" y="1884736"/>
                <a:ext cx="731773" cy="667273"/>
              </a:xfrm>
              <a:custGeom>
                <a:avLst/>
                <a:gdLst>
                  <a:gd name="T0" fmla="*/ 189 w 255"/>
                  <a:gd name="T1" fmla="*/ 10 h 233"/>
                  <a:gd name="T2" fmla="*/ 104 w 255"/>
                  <a:gd name="T3" fmla="*/ 16 h 233"/>
                  <a:gd name="T4" fmla="*/ 18 w 255"/>
                  <a:gd name="T5" fmla="*/ 30 h 233"/>
                  <a:gd name="T6" fmla="*/ 6 w 255"/>
                  <a:gd name="T7" fmla="*/ 30 h 233"/>
                  <a:gd name="T8" fmla="*/ 3 w 255"/>
                  <a:gd name="T9" fmla="*/ 46 h 233"/>
                  <a:gd name="T10" fmla="*/ 115 w 255"/>
                  <a:gd name="T11" fmla="*/ 228 h 233"/>
                  <a:gd name="T12" fmla="*/ 124 w 255"/>
                  <a:gd name="T13" fmla="*/ 233 h 233"/>
                  <a:gd name="T14" fmla="*/ 130 w 255"/>
                  <a:gd name="T15" fmla="*/ 231 h 233"/>
                  <a:gd name="T16" fmla="*/ 134 w 255"/>
                  <a:gd name="T17" fmla="*/ 216 h 233"/>
                  <a:gd name="T18" fmla="*/ 84 w 255"/>
                  <a:gd name="T19" fmla="*/ 135 h 233"/>
                  <a:gd name="T20" fmla="*/ 170 w 255"/>
                  <a:gd name="T21" fmla="*/ 121 h 233"/>
                  <a:gd name="T22" fmla="*/ 255 w 255"/>
                  <a:gd name="T23" fmla="*/ 115 h 233"/>
                  <a:gd name="T24" fmla="*/ 189 w 255"/>
                  <a:gd name="T25" fmla="*/ 1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233">
                    <a:moveTo>
                      <a:pt x="189" y="10"/>
                    </a:moveTo>
                    <a:cubicBezTo>
                      <a:pt x="189" y="10"/>
                      <a:pt x="146" y="31"/>
                      <a:pt x="104" y="16"/>
                    </a:cubicBezTo>
                    <a:cubicBezTo>
                      <a:pt x="58" y="0"/>
                      <a:pt x="37" y="6"/>
                      <a:pt x="18" y="30"/>
                    </a:cubicBezTo>
                    <a:cubicBezTo>
                      <a:pt x="14" y="28"/>
                      <a:pt x="10" y="28"/>
                      <a:pt x="6" y="30"/>
                    </a:cubicBezTo>
                    <a:cubicBezTo>
                      <a:pt x="1" y="33"/>
                      <a:pt x="0" y="40"/>
                      <a:pt x="3" y="46"/>
                    </a:cubicBezTo>
                    <a:cubicBezTo>
                      <a:pt x="115" y="228"/>
                      <a:pt x="115" y="228"/>
                      <a:pt x="115" y="228"/>
                    </a:cubicBezTo>
                    <a:cubicBezTo>
                      <a:pt x="117" y="231"/>
                      <a:pt x="121" y="233"/>
                      <a:pt x="124" y="233"/>
                    </a:cubicBezTo>
                    <a:cubicBezTo>
                      <a:pt x="126" y="233"/>
                      <a:pt x="128" y="232"/>
                      <a:pt x="130" y="231"/>
                    </a:cubicBezTo>
                    <a:cubicBezTo>
                      <a:pt x="135" y="228"/>
                      <a:pt x="137" y="221"/>
                      <a:pt x="134" y="216"/>
                    </a:cubicBezTo>
                    <a:cubicBezTo>
                      <a:pt x="84" y="135"/>
                      <a:pt x="84" y="135"/>
                      <a:pt x="84" y="135"/>
                    </a:cubicBezTo>
                    <a:cubicBezTo>
                      <a:pt x="104" y="111"/>
                      <a:pt x="124" y="105"/>
                      <a:pt x="170" y="121"/>
                    </a:cubicBezTo>
                    <a:cubicBezTo>
                      <a:pt x="213" y="135"/>
                      <a:pt x="255" y="115"/>
                      <a:pt x="255" y="115"/>
                    </a:cubicBezTo>
                    <a:lnTo>
                      <a:pt x="189" y="10"/>
                    </a:lnTo>
                    <a:close/>
                  </a:path>
                </a:pathLst>
              </a:custGeom>
              <a:solidFill>
                <a:schemeClr val="bg2"/>
              </a:solidFill>
              <a:ln>
                <a:noFill/>
              </a:ln>
            </p:spPr>
            <p:txBody>
              <a:bodyPr anchor="ctr"/>
              <a:lstStyle/>
              <a:p>
                <a:pPr algn="ctr"/>
                <a:endParaRPr/>
              </a:p>
            </p:txBody>
          </p:sp>
          <p:sp>
            <p:nvSpPr>
              <p:cNvPr id="42" name="ïşļiďè"/>
              <p:cNvSpPr/>
              <p:nvPr/>
            </p:nvSpPr>
            <p:spPr bwMode="auto">
              <a:xfrm>
                <a:off x="7775449" y="3373873"/>
                <a:ext cx="667359" cy="636992"/>
              </a:xfrm>
              <a:custGeom>
                <a:avLst/>
                <a:gdLst>
                  <a:gd name="T0" fmla="*/ 1347 w 1348"/>
                  <a:gd name="T1" fmla="*/ 786 h 1289"/>
                  <a:gd name="T2" fmla="*/ 1347 w 1348"/>
                  <a:gd name="T3" fmla="*/ 1288 h 1289"/>
                  <a:gd name="T4" fmla="*/ 1054 w 1348"/>
                  <a:gd name="T5" fmla="*/ 1288 h 1289"/>
                  <a:gd name="T6" fmla="*/ 1054 w 1348"/>
                  <a:gd name="T7" fmla="*/ 819 h 1289"/>
                  <a:gd name="T8" fmla="*/ 912 w 1348"/>
                  <a:gd name="T9" fmla="*/ 627 h 1289"/>
                  <a:gd name="T10" fmla="*/ 761 w 1348"/>
                  <a:gd name="T11" fmla="*/ 736 h 1289"/>
                  <a:gd name="T12" fmla="*/ 753 w 1348"/>
                  <a:gd name="T13" fmla="*/ 803 h 1289"/>
                  <a:gd name="T14" fmla="*/ 753 w 1348"/>
                  <a:gd name="T15" fmla="*/ 1288 h 1289"/>
                  <a:gd name="T16" fmla="*/ 468 w 1348"/>
                  <a:gd name="T17" fmla="*/ 1288 h 1289"/>
                  <a:gd name="T18" fmla="*/ 468 w 1348"/>
                  <a:gd name="T19" fmla="*/ 418 h 1289"/>
                  <a:gd name="T20" fmla="*/ 753 w 1348"/>
                  <a:gd name="T21" fmla="*/ 418 h 1289"/>
                  <a:gd name="T22" fmla="*/ 753 w 1348"/>
                  <a:gd name="T23" fmla="*/ 543 h 1289"/>
                  <a:gd name="T24" fmla="*/ 1012 w 1348"/>
                  <a:gd name="T25" fmla="*/ 401 h 1289"/>
                  <a:gd name="T26" fmla="*/ 1347 w 1348"/>
                  <a:gd name="T27" fmla="*/ 786 h 1289"/>
                  <a:gd name="T28" fmla="*/ 167 w 1348"/>
                  <a:gd name="T29" fmla="*/ 0 h 1289"/>
                  <a:gd name="T30" fmla="*/ 0 w 1348"/>
                  <a:gd name="T31" fmla="*/ 151 h 1289"/>
                  <a:gd name="T32" fmla="*/ 159 w 1348"/>
                  <a:gd name="T33" fmla="*/ 301 h 1289"/>
                  <a:gd name="T34" fmla="*/ 167 w 1348"/>
                  <a:gd name="T35" fmla="*/ 301 h 1289"/>
                  <a:gd name="T36" fmla="*/ 326 w 1348"/>
                  <a:gd name="T37" fmla="*/ 151 h 1289"/>
                  <a:gd name="T38" fmla="*/ 167 w 1348"/>
                  <a:gd name="T39" fmla="*/ 0 h 1289"/>
                  <a:gd name="T40" fmla="*/ 17 w 1348"/>
                  <a:gd name="T41" fmla="*/ 1288 h 1289"/>
                  <a:gd name="T42" fmla="*/ 310 w 1348"/>
                  <a:gd name="T43" fmla="*/ 1288 h 1289"/>
                  <a:gd name="T44" fmla="*/ 310 w 1348"/>
                  <a:gd name="T45" fmla="*/ 418 h 1289"/>
                  <a:gd name="T46" fmla="*/ 17 w 1348"/>
                  <a:gd name="T47" fmla="*/ 418 h 1289"/>
                  <a:gd name="T48" fmla="*/ 17 w 1348"/>
                  <a:gd name="T49" fmla="*/ 1288 h 1289"/>
                  <a:gd name="T50" fmla="*/ 17 w 1348"/>
                  <a:gd name="T51" fmla="*/ 1288 h 1289"/>
                  <a:gd name="T52" fmla="*/ 17 w 1348"/>
                  <a:gd name="T53" fmla="*/ 1288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8" h="1289">
                    <a:moveTo>
                      <a:pt x="1347" y="786"/>
                    </a:moveTo>
                    <a:cubicBezTo>
                      <a:pt x="1347" y="1288"/>
                      <a:pt x="1347" y="1288"/>
                      <a:pt x="1347" y="1288"/>
                    </a:cubicBezTo>
                    <a:cubicBezTo>
                      <a:pt x="1054" y="1288"/>
                      <a:pt x="1054" y="1288"/>
                      <a:pt x="1054" y="1288"/>
                    </a:cubicBezTo>
                    <a:cubicBezTo>
                      <a:pt x="1054" y="819"/>
                      <a:pt x="1054" y="819"/>
                      <a:pt x="1054" y="819"/>
                    </a:cubicBezTo>
                    <a:cubicBezTo>
                      <a:pt x="1054" y="702"/>
                      <a:pt x="1020" y="627"/>
                      <a:pt x="912" y="627"/>
                    </a:cubicBezTo>
                    <a:cubicBezTo>
                      <a:pt x="836" y="627"/>
                      <a:pt x="786" y="677"/>
                      <a:pt x="761" y="736"/>
                    </a:cubicBezTo>
                    <a:cubicBezTo>
                      <a:pt x="761" y="752"/>
                      <a:pt x="753" y="777"/>
                      <a:pt x="753" y="803"/>
                    </a:cubicBezTo>
                    <a:cubicBezTo>
                      <a:pt x="753" y="1288"/>
                      <a:pt x="753" y="1288"/>
                      <a:pt x="753" y="1288"/>
                    </a:cubicBezTo>
                    <a:cubicBezTo>
                      <a:pt x="468" y="1288"/>
                      <a:pt x="468" y="1288"/>
                      <a:pt x="468" y="1288"/>
                    </a:cubicBezTo>
                    <a:cubicBezTo>
                      <a:pt x="468" y="1288"/>
                      <a:pt x="468" y="502"/>
                      <a:pt x="468" y="418"/>
                    </a:cubicBezTo>
                    <a:cubicBezTo>
                      <a:pt x="753" y="418"/>
                      <a:pt x="753" y="418"/>
                      <a:pt x="753" y="418"/>
                    </a:cubicBezTo>
                    <a:cubicBezTo>
                      <a:pt x="753" y="543"/>
                      <a:pt x="753" y="543"/>
                      <a:pt x="753" y="543"/>
                    </a:cubicBezTo>
                    <a:cubicBezTo>
                      <a:pt x="795" y="485"/>
                      <a:pt x="862" y="401"/>
                      <a:pt x="1012" y="401"/>
                    </a:cubicBezTo>
                    <a:cubicBezTo>
                      <a:pt x="1204" y="401"/>
                      <a:pt x="1347" y="527"/>
                      <a:pt x="1347" y="786"/>
                    </a:cubicBezTo>
                    <a:close/>
                    <a:moveTo>
                      <a:pt x="167" y="0"/>
                    </a:moveTo>
                    <a:cubicBezTo>
                      <a:pt x="67" y="0"/>
                      <a:pt x="0" y="67"/>
                      <a:pt x="0" y="151"/>
                    </a:cubicBezTo>
                    <a:cubicBezTo>
                      <a:pt x="0" y="234"/>
                      <a:pt x="67" y="301"/>
                      <a:pt x="159" y="301"/>
                    </a:cubicBezTo>
                    <a:cubicBezTo>
                      <a:pt x="167" y="301"/>
                      <a:pt x="167" y="301"/>
                      <a:pt x="167" y="301"/>
                    </a:cubicBezTo>
                    <a:cubicBezTo>
                      <a:pt x="268" y="301"/>
                      <a:pt x="326" y="234"/>
                      <a:pt x="326" y="151"/>
                    </a:cubicBezTo>
                    <a:cubicBezTo>
                      <a:pt x="326" y="67"/>
                      <a:pt x="268" y="0"/>
                      <a:pt x="167" y="0"/>
                    </a:cubicBezTo>
                    <a:close/>
                    <a:moveTo>
                      <a:pt x="17" y="1288"/>
                    </a:moveTo>
                    <a:cubicBezTo>
                      <a:pt x="310" y="1288"/>
                      <a:pt x="310" y="1288"/>
                      <a:pt x="310" y="1288"/>
                    </a:cubicBezTo>
                    <a:cubicBezTo>
                      <a:pt x="310" y="418"/>
                      <a:pt x="310" y="418"/>
                      <a:pt x="310" y="418"/>
                    </a:cubicBezTo>
                    <a:cubicBezTo>
                      <a:pt x="17" y="418"/>
                      <a:pt x="17" y="418"/>
                      <a:pt x="17" y="418"/>
                    </a:cubicBezTo>
                    <a:lnTo>
                      <a:pt x="17" y="1288"/>
                    </a:lnTo>
                    <a:close/>
                    <a:moveTo>
                      <a:pt x="17" y="1288"/>
                    </a:moveTo>
                    <a:lnTo>
                      <a:pt x="17" y="1288"/>
                    </a:lnTo>
                    <a:close/>
                  </a:path>
                </a:pathLst>
              </a:custGeom>
              <a:solidFill>
                <a:schemeClr val="bg2"/>
              </a:solidFill>
              <a:ln>
                <a:noFill/>
              </a:ln>
              <a:effectLst/>
            </p:spPr>
            <p:txBody>
              <a:bodyPr anchor="ctr"/>
              <a:lstStyle/>
              <a:p>
                <a:pPr algn="ctr"/>
                <a:endParaRPr/>
              </a:p>
            </p:txBody>
          </p:sp>
          <p:sp>
            <p:nvSpPr>
              <p:cNvPr id="43" name="ïṡlîďè"/>
              <p:cNvSpPr/>
              <p:nvPr/>
            </p:nvSpPr>
            <p:spPr bwMode="auto">
              <a:xfrm>
                <a:off x="7035125" y="3732729"/>
                <a:ext cx="466263" cy="46452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63" y="0"/>
                    </a:moveTo>
                    <a:cubicBezTo>
                      <a:pt x="20630" y="0"/>
                      <a:pt x="20946" y="161"/>
                      <a:pt x="21208" y="481"/>
                    </a:cubicBezTo>
                    <a:cubicBezTo>
                      <a:pt x="21470" y="798"/>
                      <a:pt x="21599" y="1177"/>
                      <a:pt x="21599" y="1618"/>
                    </a:cubicBezTo>
                    <a:lnTo>
                      <a:pt x="21599" y="19981"/>
                    </a:lnTo>
                    <a:cubicBezTo>
                      <a:pt x="21599" y="20422"/>
                      <a:pt x="21470" y="20801"/>
                      <a:pt x="21208" y="21121"/>
                    </a:cubicBezTo>
                    <a:cubicBezTo>
                      <a:pt x="20946" y="21441"/>
                      <a:pt x="20630" y="21599"/>
                      <a:pt x="20263" y="21599"/>
                    </a:cubicBezTo>
                    <a:lnTo>
                      <a:pt x="1346" y="21599"/>
                    </a:lnTo>
                    <a:cubicBezTo>
                      <a:pt x="979" y="21599"/>
                      <a:pt x="663" y="21441"/>
                      <a:pt x="399" y="21121"/>
                    </a:cubicBezTo>
                    <a:cubicBezTo>
                      <a:pt x="132" y="20801"/>
                      <a:pt x="0" y="20422"/>
                      <a:pt x="0" y="19981"/>
                    </a:cubicBezTo>
                    <a:lnTo>
                      <a:pt x="0" y="1618"/>
                    </a:lnTo>
                    <a:cubicBezTo>
                      <a:pt x="0" y="1177"/>
                      <a:pt x="132" y="798"/>
                      <a:pt x="399" y="481"/>
                    </a:cubicBezTo>
                    <a:cubicBezTo>
                      <a:pt x="663" y="161"/>
                      <a:pt x="979" y="0"/>
                      <a:pt x="1346" y="0"/>
                    </a:cubicBezTo>
                    <a:lnTo>
                      <a:pt x="20263" y="0"/>
                    </a:lnTo>
                    <a:close/>
                    <a:moveTo>
                      <a:pt x="19805" y="2252"/>
                    </a:moveTo>
                    <a:lnTo>
                      <a:pt x="8590" y="2252"/>
                    </a:lnTo>
                    <a:lnTo>
                      <a:pt x="8426" y="3545"/>
                    </a:lnTo>
                    <a:lnTo>
                      <a:pt x="1804" y="3545"/>
                    </a:lnTo>
                    <a:lnTo>
                      <a:pt x="1804" y="5501"/>
                    </a:lnTo>
                    <a:lnTo>
                      <a:pt x="19805" y="5501"/>
                    </a:lnTo>
                    <a:lnTo>
                      <a:pt x="19805" y="2252"/>
                    </a:lnTo>
                    <a:close/>
                    <a:moveTo>
                      <a:pt x="19805" y="17746"/>
                    </a:moveTo>
                    <a:lnTo>
                      <a:pt x="1804" y="17746"/>
                    </a:lnTo>
                    <a:lnTo>
                      <a:pt x="1804" y="19350"/>
                    </a:lnTo>
                    <a:lnTo>
                      <a:pt x="19805" y="19350"/>
                    </a:lnTo>
                    <a:lnTo>
                      <a:pt x="19805" y="17746"/>
                    </a:lnTo>
                    <a:close/>
                    <a:moveTo>
                      <a:pt x="3116" y="2743"/>
                    </a:moveTo>
                    <a:lnTo>
                      <a:pt x="6820" y="2743"/>
                    </a:lnTo>
                    <a:lnTo>
                      <a:pt x="6820" y="1436"/>
                    </a:lnTo>
                    <a:lnTo>
                      <a:pt x="3116" y="1436"/>
                    </a:lnTo>
                    <a:lnTo>
                      <a:pt x="3116" y="2743"/>
                    </a:lnTo>
                    <a:close/>
                    <a:moveTo>
                      <a:pt x="6529" y="11631"/>
                    </a:moveTo>
                    <a:cubicBezTo>
                      <a:pt x="6529" y="12342"/>
                      <a:pt x="6639" y="13011"/>
                      <a:pt x="6862" y="13634"/>
                    </a:cubicBezTo>
                    <a:cubicBezTo>
                      <a:pt x="7084" y="14257"/>
                      <a:pt x="7388" y="14800"/>
                      <a:pt x="7775" y="15264"/>
                    </a:cubicBezTo>
                    <a:cubicBezTo>
                      <a:pt x="8162" y="15731"/>
                      <a:pt x="8617" y="16095"/>
                      <a:pt x="9134" y="16359"/>
                    </a:cubicBezTo>
                    <a:cubicBezTo>
                      <a:pt x="9655" y="16630"/>
                      <a:pt x="10211" y="16762"/>
                      <a:pt x="10806" y="16762"/>
                    </a:cubicBezTo>
                    <a:cubicBezTo>
                      <a:pt x="11398" y="16762"/>
                      <a:pt x="11954" y="16630"/>
                      <a:pt x="12470" y="16359"/>
                    </a:cubicBezTo>
                    <a:cubicBezTo>
                      <a:pt x="12984" y="16095"/>
                      <a:pt x="13435" y="15731"/>
                      <a:pt x="13824" y="15264"/>
                    </a:cubicBezTo>
                    <a:cubicBezTo>
                      <a:pt x="14211" y="14800"/>
                      <a:pt x="14515" y="14257"/>
                      <a:pt x="14737" y="13634"/>
                    </a:cubicBezTo>
                    <a:cubicBezTo>
                      <a:pt x="14960" y="13011"/>
                      <a:pt x="15070" y="12342"/>
                      <a:pt x="15070" y="11631"/>
                    </a:cubicBezTo>
                    <a:cubicBezTo>
                      <a:pt x="15070" y="10917"/>
                      <a:pt x="14960" y="10250"/>
                      <a:pt x="14737" y="9625"/>
                    </a:cubicBezTo>
                    <a:cubicBezTo>
                      <a:pt x="14515" y="9002"/>
                      <a:pt x="14211" y="8461"/>
                      <a:pt x="13824" y="8003"/>
                    </a:cubicBezTo>
                    <a:cubicBezTo>
                      <a:pt x="13435" y="7542"/>
                      <a:pt x="12982" y="7178"/>
                      <a:pt x="12463" y="6914"/>
                    </a:cubicBezTo>
                    <a:cubicBezTo>
                      <a:pt x="11944" y="6646"/>
                      <a:pt x="11391" y="6511"/>
                      <a:pt x="10806" y="6511"/>
                    </a:cubicBezTo>
                    <a:cubicBezTo>
                      <a:pt x="10211" y="6511"/>
                      <a:pt x="9655" y="6646"/>
                      <a:pt x="9134" y="6914"/>
                    </a:cubicBezTo>
                    <a:cubicBezTo>
                      <a:pt x="8617" y="7178"/>
                      <a:pt x="8162" y="7542"/>
                      <a:pt x="7775" y="8003"/>
                    </a:cubicBezTo>
                    <a:cubicBezTo>
                      <a:pt x="7388" y="8461"/>
                      <a:pt x="7084" y="9002"/>
                      <a:pt x="6862" y="9625"/>
                    </a:cubicBezTo>
                    <a:cubicBezTo>
                      <a:pt x="6639" y="10250"/>
                      <a:pt x="6529" y="10917"/>
                      <a:pt x="6529" y="11631"/>
                    </a:cubicBezTo>
                    <a:moveTo>
                      <a:pt x="13724" y="11631"/>
                    </a:moveTo>
                    <a:cubicBezTo>
                      <a:pt x="13724" y="12109"/>
                      <a:pt x="13648" y="12565"/>
                      <a:pt x="13501" y="12999"/>
                    </a:cubicBezTo>
                    <a:cubicBezTo>
                      <a:pt x="13352" y="13434"/>
                      <a:pt x="13146" y="13813"/>
                      <a:pt x="12879" y="14127"/>
                    </a:cubicBezTo>
                    <a:cubicBezTo>
                      <a:pt x="12612" y="14439"/>
                      <a:pt x="12301" y="14688"/>
                      <a:pt x="11942" y="14870"/>
                    </a:cubicBezTo>
                    <a:cubicBezTo>
                      <a:pt x="11582" y="15052"/>
                      <a:pt x="11205" y="15144"/>
                      <a:pt x="10806" y="15144"/>
                    </a:cubicBezTo>
                    <a:cubicBezTo>
                      <a:pt x="10407" y="15144"/>
                      <a:pt x="10025" y="15052"/>
                      <a:pt x="9662" y="14870"/>
                    </a:cubicBezTo>
                    <a:cubicBezTo>
                      <a:pt x="9300" y="14688"/>
                      <a:pt x="8987" y="14439"/>
                      <a:pt x="8725" y="14127"/>
                    </a:cubicBezTo>
                    <a:cubicBezTo>
                      <a:pt x="8463" y="13813"/>
                      <a:pt x="8257" y="13440"/>
                      <a:pt x="8103" y="13008"/>
                    </a:cubicBezTo>
                    <a:cubicBezTo>
                      <a:pt x="7951" y="12579"/>
                      <a:pt x="7875" y="12118"/>
                      <a:pt x="7875" y="11631"/>
                    </a:cubicBezTo>
                    <a:cubicBezTo>
                      <a:pt x="7875" y="11152"/>
                      <a:pt x="7951" y="10700"/>
                      <a:pt x="8103" y="10265"/>
                    </a:cubicBezTo>
                    <a:cubicBezTo>
                      <a:pt x="8257" y="9836"/>
                      <a:pt x="8463" y="9460"/>
                      <a:pt x="8725" y="9140"/>
                    </a:cubicBezTo>
                    <a:cubicBezTo>
                      <a:pt x="8987" y="8823"/>
                      <a:pt x="9298" y="8576"/>
                      <a:pt x="9657" y="8394"/>
                    </a:cubicBezTo>
                    <a:cubicBezTo>
                      <a:pt x="10015" y="8218"/>
                      <a:pt x="10399" y="8130"/>
                      <a:pt x="10806" y="8130"/>
                    </a:cubicBezTo>
                    <a:cubicBezTo>
                      <a:pt x="11205" y="8130"/>
                      <a:pt x="11582" y="8218"/>
                      <a:pt x="11942" y="8394"/>
                    </a:cubicBezTo>
                    <a:cubicBezTo>
                      <a:pt x="12301" y="8576"/>
                      <a:pt x="12612" y="8823"/>
                      <a:pt x="12879" y="9140"/>
                    </a:cubicBezTo>
                    <a:cubicBezTo>
                      <a:pt x="13146" y="9460"/>
                      <a:pt x="13352" y="9836"/>
                      <a:pt x="13501" y="10265"/>
                    </a:cubicBezTo>
                    <a:cubicBezTo>
                      <a:pt x="13648" y="10700"/>
                      <a:pt x="13724" y="11152"/>
                      <a:pt x="13724" y="11631"/>
                    </a:cubicBezTo>
                    <a:moveTo>
                      <a:pt x="9692" y="11631"/>
                    </a:moveTo>
                    <a:cubicBezTo>
                      <a:pt x="9692" y="11246"/>
                      <a:pt x="9799" y="10929"/>
                      <a:pt x="10020" y="10682"/>
                    </a:cubicBezTo>
                    <a:cubicBezTo>
                      <a:pt x="10238" y="10432"/>
                      <a:pt x="10500" y="10309"/>
                      <a:pt x="10806" y="10309"/>
                    </a:cubicBezTo>
                    <a:lnTo>
                      <a:pt x="10806" y="10280"/>
                    </a:lnTo>
                    <a:cubicBezTo>
                      <a:pt x="10945" y="10280"/>
                      <a:pt x="11065" y="10224"/>
                      <a:pt x="11163" y="10109"/>
                    </a:cubicBezTo>
                    <a:cubicBezTo>
                      <a:pt x="11261" y="9998"/>
                      <a:pt x="11310" y="9862"/>
                      <a:pt x="11310" y="9704"/>
                    </a:cubicBezTo>
                    <a:cubicBezTo>
                      <a:pt x="11310" y="9533"/>
                      <a:pt x="11261" y="9392"/>
                      <a:pt x="11163" y="9275"/>
                    </a:cubicBezTo>
                    <a:cubicBezTo>
                      <a:pt x="11065" y="9157"/>
                      <a:pt x="10945" y="9096"/>
                      <a:pt x="10806" y="9096"/>
                    </a:cubicBezTo>
                    <a:cubicBezTo>
                      <a:pt x="10228" y="9096"/>
                      <a:pt x="9733" y="9348"/>
                      <a:pt x="9322" y="9848"/>
                    </a:cubicBezTo>
                    <a:cubicBezTo>
                      <a:pt x="8913" y="10350"/>
                      <a:pt x="8708" y="10943"/>
                      <a:pt x="8708" y="11628"/>
                    </a:cubicBezTo>
                    <a:cubicBezTo>
                      <a:pt x="8708" y="11777"/>
                      <a:pt x="8757" y="11913"/>
                      <a:pt x="8854" y="12027"/>
                    </a:cubicBezTo>
                    <a:cubicBezTo>
                      <a:pt x="8952" y="12147"/>
                      <a:pt x="9063" y="12206"/>
                      <a:pt x="9187" y="12206"/>
                    </a:cubicBezTo>
                    <a:cubicBezTo>
                      <a:pt x="9329" y="12206"/>
                      <a:pt x="9447" y="12148"/>
                      <a:pt x="9545" y="12027"/>
                    </a:cubicBezTo>
                    <a:cubicBezTo>
                      <a:pt x="9643" y="11916"/>
                      <a:pt x="9692" y="11780"/>
                      <a:pt x="9692" y="11631"/>
                    </a:cubicBezTo>
                  </a:path>
                </a:pathLst>
              </a:custGeom>
              <a:solidFill>
                <a:schemeClr val="bg2"/>
              </a:solidFill>
              <a:ln>
                <a:noFill/>
              </a:ln>
              <a:effectLst/>
            </p:spPr>
            <p:txBody>
              <a:bodyPr anchor="ctr"/>
              <a:lstStyle/>
              <a:p>
                <a:pPr algn="ctr"/>
                <a:endParaRPr/>
              </a:p>
            </p:txBody>
          </p:sp>
          <p:sp>
            <p:nvSpPr>
              <p:cNvPr id="44" name="iśļîde"/>
              <p:cNvSpPr/>
              <p:nvPr/>
            </p:nvSpPr>
            <p:spPr bwMode="auto">
              <a:xfrm>
                <a:off x="7215938" y="1373630"/>
                <a:ext cx="337250" cy="484784"/>
              </a:xfrm>
              <a:custGeom>
                <a:avLst/>
                <a:gdLst>
                  <a:gd name="T0" fmla="*/ 499 w 667"/>
                  <a:gd name="T1" fmla="*/ 52 h 959"/>
                  <a:gd name="T2" fmla="*/ 551 w 667"/>
                  <a:gd name="T3" fmla="*/ 104 h 959"/>
                  <a:gd name="T4" fmla="*/ 593 w 667"/>
                  <a:gd name="T5" fmla="*/ 219 h 959"/>
                  <a:gd name="T6" fmla="*/ 562 w 667"/>
                  <a:gd name="T7" fmla="*/ 323 h 959"/>
                  <a:gd name="T8" fmla="*/ 478 w 667"/>
                  <a:gd name="T9" fmla="*/ 396 h 959"/>
                  <a:gd name="T10" fmla="*/ 437 w 667"/>
                  <a:gd name="T11" fmla="*/ 459 h 959"/>
                  <a:gd name="T12" fmla="*/ 478 w 667"/>
                  <a:gd name="T13" fmla="*/ 511 h 959"/>
                  <a:gd name="T14" fmla="*/ 572 w 667"/>
                  <a:gd name="T15" fmla="*/ 583 h 959"/>
                  <a:gd name="T16" fmla="*/ 624 w 667"/>
                  <a:gd name="T17" fmla="*/ 667 h 959"/>
                  <a:gd name="T18" fmla="*/ 614 w 667"/>
                  <a:gd name="T19" fmla="*/ 812 h 959"/>
                  <a:gd name="T20" fmla="*/ 437 w 667"/>
                  <a:gd name="T21" fmla="*/ 937 h 959"/>
                  <a:gd name="T22" fmla="*/ 166 w 667"/>
                  <a:gd name="T23" fmla="*/ 948 h 959"/>
                  <a:gd name="T24" fmla="*/ 20 w 667"/>
                  <a:gd name="T25" fmla="*/ 844 h 959"/>
                  <a:gd name="T26" fmla="*/ 20 w 667"/>
                  <a:gd name="T27" fmla="*/ 698 h 959"/>
                  <a:gd name="T28" fmla="*/ 166 w 667"/>
                  <a:gd name="T29" fmla="*/ 594 h 959"/>
                  <a:gd name="T30" fmla="*/ 301 w 667"/>
                  <a:gd name="T31" fmla="*/ 573 h 959"/>
                  <a:gd name="T32" fmla="*/ 333 w 667"/>
                  <a:gd name="T33" fmla="*/ 531 h 959"/>
                  <a:gd name="T34" fmla="*/ 322 w 667"/>
                  <a:gd name="T35" fmla="*/ 459 h 959"/>
                  <a:gd name="T36" fmla="*/ 312 w 667"/>
                  <a:gd name="T37" fmla="*/ 438 h 959"/>
                  <a:gd name="T38" fmla="*/ 197 w 667"/>
                  <a:gd name="T39" fmla="*/ 417 h 959"/>
                  <a:gd name="T40" fmla="*/ 83 w 667"/>
                  <a:gd name="T41" fmla="*/ 313 h 959"/>
                  <a:gd name="T42" fmla="*/ 93 w 667"/>
                  <a:gd name="T43" fmla="*/ 156 h 959"/>
                  <a:gd name="T44" fmla="*/ 270 w 667"/>
                  <a:gd name="T45" fmla="*/ 21 h 959"/>
                  <a:gd name="T46" fmla="*/ 666 w 667"/>
                  <a:gd name="T47" fmla="*/ 0 h 959"/>
                  <a:gd name="T48" fmla="*/ 551 w 667"/>
                  <a:gd name="T49" fmla="*/ 771 h 959"/>
                  <a:gd name="T50" fmla="*/ 520 w 667"/>
                  <a:gd name="T51" fmla="*/ 687 h 959"/>
                  <a:gd name="T52" fmla="*/ 406 w 667"/>
                  <a:gd name="T53" fmla="*/ 604 h 959"/>
                  <a:gd name="T54" fmla="*/ 374 w 667"/>
                  <a:gd name="T55" fmla="*/ 604 h 959"/>
                  <a:gd name="T56" fmla="*/ 322 w 667"/>
                  <a:gd name="T57" fmla="*/ 604 h 959"/>
                  <a:gd name="T58" fmla="*/ 239 w 667"/>
                  <a:gd name="T59" fmla="*/ 625 h 959"/>
                  <a:gd name="T60" fmla="*/ 166 w 667"/>
                  <a:gd name="T61" fmla="*/ 656 h 959"/>
                  <a:gd name="T62" fmla="*/ 124 w 667"/>
                  <a:gd name="T63" fmla="*/ 750 h 959"/>
                  <a:gd name="T64" fmla="*/ 187 w 667"/>
                  <a:gd name="T65" fmla="*/ 854 h 959"/>
                  <a:gd name="T66" fmla="*/ 353 w 667"/>
                  <a:gd name="T67" fmla="*/ 906 h 959"/>
                  <a:gd name="T68" fmla="*/ 551 w 667"/>
                  <a:gd name="T69" fmla="*/ 771 h 959"/>
                  <a:gd name="T70" fmla="*/ 468 w 667"/>
                  <a:gd name="T71" fmla="*/ 323 h 959"/>
                  <a:gd name="T72" fmla="*/ 468 w 667"/>
                  <a:gd name="T73" fmla="*/ 198 h 959"/>
                  <a:gd name="T74" fmla="*/ 385 w 667"/>
                  <a:gd name="T75" fmla="*/ 73 h 959"/>
                  <a:gd name="T76" fmla="*/ 260 w 667"/>
                  <a:gd name="T77" fmla="*/ 63 h 959"/>
                  <a:gd name="T78" fmla="*/ 197 w 667"/>
                  <a:gd name="T79" fmla="*/ 136 h 959"/>
                  <a:gd name="T80" fmla="*/ 197 w 667"/>
                  <a:gd name="T81" fmla="*/ 250 h 959"/>
                  <a:gd name="T82" fmla="*/ 281 w 667"/>
                  <a:gd name="T83" fmla="*/ 375 h 959"/>
                  <a:gd name="T84" fmla="*/ 406 w 667"/>
                  <a:gd name="T85" fmla="*/ 396 h 959"/>
                  <a:gd name="T86" fmla="*/ 437 w 667"/>
                  <a:gd name="T87" fmla="*/ 365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959">
                    <a:moveTo>
                      <a:pt x="583" y="52"/>
                    </a:moveTo>
                    <a:cubicBezTo>
                      <a:pt x="499" y="52"/>
                      <a:pt x="499" y="52"/>
                      <a:pt x="499" y="52"/>
                    </a:cubicBezTo>
                    <a:cubicBezTo>
                      <a:pt x="520" y="73"/>
                      <a:pt x="520" y="73"/>
                      <a:pt x="520" y="73"/>
                    </a:cubicBezTo>
                    <a:cubicBezTo>
                      <a:pt x="531" y="84"/>
                      <a:pt x="541" y="94"/>
                      <a:pt x="551" y="104"/>
                    </a:cubicBezTo>
                    <a:cubicBezTo>
                      <a:pt x="562" y="125"/>
                      <a:pt x="572" y="136"/>
                      <a:pt x="583" y="156"/>
                    </a:cubicBezTo>
                    <a:cubicBezTo>
                      <a:pt x="593" y="177"/>
                      <a:pt x="593" y="198"/>
                      <a:pt x="593" y="219"/>
                    </a:cubicBezTo>
                    <a:cubicBezTo>
                      <a:pt x="593" y="240"/>
                      <a:pt x="593" y="261"/>
                      <a:pt x="583" y="281"/>
                    </a:cubicBezTo>
                    <a:cubicBezTo>
                      <a:pt x="572" y="292"/>
                      <a:pt x="572" y="313"/>
                      <a:pt x="562" y="323"/>
                    </a:cubicBezTo>
                    <a:cubicBezTo>
                      <a:pt x="551" y="344"/>
                      <a:pt x="531" y="354"/>
                      <a:pt x="520" y="365"/>
                    </a:cubicBezTo>
                    <a:cubicBezTo>
                      <a:pt x="478" y="396"/>
                      <a:pt x="478" y="396"/>
                      <a:pt x="478" y="396"/>
                    </a:cubicBezTo>
                    <a:cubicBezTo>
                      <a:pt x="468" y="406"/>
                      <a:pt x="458" y="417"/>
                      <a:pt x="458" y="417"/>
                    </a:cubicBezTo>
                    <a:cubicBezTo>
                      <a:pt x="447" y="427"/>
                      <a:pt x="437" y="438"/>
                      <a:pt x="437" y="459"/>
                    </a:cubicBezTo>
                    <a:cubicBezTo>
                      <a:pt x="437" y="469"/>
                      <a:pt x="447" y="479"/>
                      <a:pt x="458" y="490"/>
                    </a:cubicBezTo>
                    <a:cubicBezTo>
                      <a:pt x="468" y="500"/>
                      <a:pt x="478" y="511"/>
                      <a:pt x="478" y="511"/>
                    </a:cubicBezTo>
                    <a:cubicBezTo>
                      <a:pt x="531" y="542"/>
                      <a:pt x="531" y="542"/>
                      <a:pt x="531" y="542"/>
                    </a:cubicBezTo>
                    <a:cubicBezTo>
                      <a:pt x="541" y="552"/>
                      <a:pt x="562" y="573"/>
                      <a:pt x="572" y="583"/>
                    </a:cubicBezTo>
                    <a:cubicBezTo>
                      <a:pt x="583" y="594"/>
                      <a:pt x="593" y="604"/>
                      <a:pt x="603" y="614"/>
                    </a:cubicBezTo>
                    <a:cubicBezTo>
                      <a:pt x="614" y="635"/>
                      <a:pt x="614" y="646"/>
                      <a:pt x="624" y="667"/>
                    </a:cubicBezTo>
                    <a:cubicBezTo>
                      <a:pt x="624" y="677"/>
                      <a:pt x="635" y="698"/>
                      <a:pt x="635" y="719"/>
                    </a:cubicBezTo>
                    <a:cubicBezTo>
                      <a:pt x="635" y="750"/>
                      <a:pt x="624" y="781"/>
                      <a:pt x="614" y="812"/>
                    </a:cubicBezTo>
                    <a:cubicBezTo>
                      <a:pt x="593" y="833"/>
                      <a:pt x="572" y="864"/>
                      <a:pt x="541" y="885"/>
                    </a:cubicBezTo>
                    <a:cubicBezTo>
                      <a:pt x="520" y="906"/>
                      <a:pt x="478" y="927"/>
                      <a:pt x="437" y="937"/>
                    </a:cubicBezTo>
                    <a:cubicBezTo>
                      <a:pt x="395" y="948"/>
                      <a:pt x="343" y="958"/>
                      <a:pt x="291" y="958"/>
                    </a:cubicBezTo>
                    <a:cubicBezTo>
                      <a:pt x="239" y="958"/>
                      <a:pt x="197" y="958"/>
                      <a:pt x="166" y="948"/>
                    </a:cubicBezTo>
                    <a:cubicBezTo>
                      <a:pt x="124" y="937"/>
                      <a:pt x="93" y="917"/>
                      <a:pt x="72" y="906"/>
                    </a:cubicBezTo>
                    <a:cubicBezTo>
                      <a:pt x="51" y="885"/>
                      <a:pt x="31" y="864"/>
                      <a:pt x="20" y="844"/>
                    </a:cubicBezTo>
                    <a:cubicBezTo>
                      <a:pt x="10" y="823"/>
                      <a:pt x="0" y="802"/>
                      <a:pt x="0" y="781"/>
                    </a:cubicBezTo>
                    <a:cubicBezTo>
                      <a:pt x="0" y="760"/>
                      <a:pt x="10" y="729"/>
                      <a:pt x="20" y="698"/>
                    </a:cubicBezTo>
                    <a:cubicBezTo>
                      <a:pt x="41" y="677"/>
                      <a:pt x="62" y="646"/>
                      <a:pt x="103" y="625"/>
                    </a:cubicBezTo>
                    <a:cubicBezTo>
                      <a:pt x="124" y="614"/>
                      <a:pt x="145" y="604"/>
                      <a:pt x="166" y="594"/>
                    </a:cubicBezTo>
                    <a:cubicBezTo>
                      <a:pt x="197" y="594"/>
                      <a:pt x="218" y="583"/>
                      <a:pt x="239" y="583"/>
                    </a:cubicBezTo>
                    <a:cubicBezTo>
                      <a:pt x="260" y="573"/>
                      <a:pt x="281" y="573"/>
                      <a:pt x="301" y="573"/>
                    </a:cubicBezTo>
                    <a:cubicBezTo>
                      <a:pt x="322" y="573"/>
                      <a:pt x="343" y="573"/>
                      <a:pt x="353" y="573"/>
                    </a:cubicBezTo>
                    <a:cubicBezTo>
                      <a:pt x="353" y="552"/>
                      <a:pt x="343" y="542"/>
                      <a:pt x="333" y="531"/>
                    </a:cubicBezTo>
                    <a:cubicBezTo>
                      <a:pt x="322" y="521"/>
                      <a:pt x="322" y="500"/>
                      <a:pt x="322" y="479"/>
                    </a:cubicBezTo>
                    <a:cubicBezTo>
                      <a:pt x="322" y="469"/>
                      <a:pt x="322" y="459"/>
                      <a:pt x="322" y="459"/>
                    </a:cubicBezTo>
                    <a:cubicBezTo>
                      <a:pt x="322" y="448"/>
                      <a:pt x="333" y="438"/>
                      <a:pt x="333" y="438"/>
                    </a:cubicBezTo>
                    <a:cubicBezTo>
                      <a:pt x="322" y="438"/>
                      <a:pt x="322" y="438"/>
                      <a:pt x="312" y="438"/>
                    </a:cubicBezTo>
                    <a:cubicBezTo>
                      <a:pt x="301" y="438"/>
                      <a:pt x="301" y="438"/>
                      <a:pt x="291" y="438"/>
                    </a:cubicBezTo>
                    <a:cubicBezTo>
                      <a:pt x="260" y="438"/>
                      <a:pt x="218" y="427"/>
                      <a:pt x="197" y="417"/>
                    </a:cubicBezTo>
                    <a:cubicBezTo>
                      <a:pt x="166" y="406"/>
                      <a:pt x="145" y="396"/>
                      <a:pt x="124" y="375"/>
                    </a:cubicBezTo>
                    <a:cubicBezTo>
                      <a:pt x="103" y="354"/>
                      <a:pt x="93" y="334"/>
                      <a:pt x="83" y="313"/>
                    </a:cubicBezTo>
                    <a:cubicBezTo>
                      <a:pt x="72" y="292"/>
                      <a:pt x="62" y="261"/>
                      <a:pt x="62" y="240"/>
                    </a:cubicBezTo>
                    <a:cubicBezTo>
                      <a:pt x="62" y="209"/>
                      <a:pt x="72" y="177"/>
                      <a:pt x="93" y="156"/>
                    </a:cubicBezTo>
                    <a:cubicBezTo>
                      <a:pt x="103" y="125"/>
                      <a:pt x="124" y="94"/>
                      <a:pt x="156" y="73"/>
                    </a:cubicBezTo>
                    <a:cubicBezTo>
                      <a:pt x="187" y="42"/>
                      <a:pt x="228" y="21"/>
                      <a:pt x="270" y="21"/>
                    </a:cubicBezTo>
                    <a:cubicBezTo>
                      <a:pt x="312" y="11"/>
                      <a:pt x="353" y="0"/>
                      <a:pt x="395" y="0"/>
                    </a:cubicBezTo>
                    <a:cubicBezTo>
                      <a:pt x="666" y="0"/>
                      <a:pt x="666" y="0"/>
                      <a:pt x="666" y="0"/>
                    </a:cubicBezTo>
                    <a:lnTo>
                      <a:pt x="583" y="52"/>
                    </a:lnTo>
                    <a:close/>
                    <a:moveTo>
                      <a:pt x="551" y="771"/>
                    </a:moveTo>
                    <a:cubicBezTo>
                      <a:pt x="551" y="750"/>
                      <a:pt x="541" y="739"/>
                      <a:pt x="541" y="729"/>
                    </a:cubicBezTo>
                    <a:cubicBezTo>
                      <a:pt x="531" y="708"/>
                      <a:pt x="531" y="698"/>
                      <a:pt x="520" y="687"/>
                    </a:cubicBezTo>
                    <a:cubicBezTo>
                      <a:pt x="510" y="677"/>
                      <a:pt x="489" y="667"/>
                      <a:pt x="468" y="646"/>
                    </a:cubicBezTo>
                    <a:cubicBezTo>
                      <a:pt x="458" y="635"/>
                      <a:pt x="426" y="625"/>
                      <a:pt x="406" y="604"/>
                    </a:cubicBezTo>
                    <a:lnTo>
                      <a:pt x="395" y="604"/>
                    </a:lnTo>
                    <a:cubicBezTo>
                      <a:pt x="374" y="604"/>
                      <a:pt x="374" y="604"/>
                      <a:pt x="374" y="604"/>
                    </a:cubicBezTo>
                    <a:cubicBezTo>
                      <a:pt x="374" y="604"/>
                      <a:pt x="364" y="604"/>
                      <a:pt x="353" y="604"/>
                    </a:cubicBezTo>
                    <a:cubicBezTo>
                      <a:pt x="343" y="604"/>
                      <a:pt x="333" y="604"/>
                      <a:pt x="322" y="604"/>
                    </a:cubicBezTo>
                    <a:cubicBezTo>
                      <a:pt x="312" y="604"/>
                      <a:pt x="291" y="604"/>
                      <a:pt x="281" y="614"/>
                    </a:cubicBezTo>
                    <a:cubicBezTo>
                      <a:pt x="260" y="614"/>
                      <a:pt x="249" y="614"/>
                      <a:pt x="239" y="625"/>
                    </a:cubicBezTo>
                    <a:cubicBezTo>
                      <a:pt x="228" y="625"/>
                      <a:pt x="218" y="625"/>
                      <a:pt x="208" y="635"/>
                    </a:cubicBezTo>
                    <a:cubicBezTo>
                      <a:pt x="187" y="635"/>
                      <a:pt x="176" y="646"/>
                      <a:pt x="166" y="656"/>
                    </a:cubicBezTo>
                    <a:cubicBezTo>
                      <a:pt x="156" y="667"/>
                      <a:pt x="145" y="677"/>
                      <a:pt x="135" y="698"/>
                    </a:cubicBezTo>
                    <a:cubicBezTo>
                      <a:pt x="124" y="708"/>
                      <a:pt x="124" y="729"/>
                      <a:pt x="124" y="750"/>
                    </a:cubicBezTo>
                    <a:cubicBezTo>
                      <a:pt x="124" y="771"/>
                      <a:pt x="124" y="792"/>
                      <a:pt x="135" y="812"/>
                    </a:cubicBezTo>
                    <a:cubicBezTo>
                      <a:pt x="145" y="833"/>
                      <a:pt x="166" y="844"/>
                      <a:pt x="187" y="854"/>
                    </a:cubicBezTo>
                    <a:cubicBezTo>
                      <a:pt x="208" y="875"/>
                      <a:pt x="228" y="885"/>
                      <a:pt x="260" y="896"/>
                    </a:cubicBezTo>
                    <a:cubicBezTo>
                      <a:pt x="281" y="896"/>
                      <a:pt x="322" y="906"/>
                      <a:pt x="353" y="906"/>
                    </a:cubicBezTo>
                    <a:cubicBezTo>
                      <a:pt x="416" y="906"/>
                      <a:pt x="468" y="885"/>
                      <a:pt x="499" y="864"/>
                    </a:cubicBezTo>
                    <a:cubicBezTo>
                      <a:pt x="531" y="844"/>
                      <a:pt x="551" y="802"/>
                      <a:pt x="551" y="771"/>
                    </a:cubicBezTo>
                    <a:close/>
                    <a:moveTo>
                      <a:pt x="437" y="365"/>
                    </a:moveTo>
                    <a:cubicBezTo>
                      <a:pt x="458" y="354"/>
                      <a:pt x="468" y="334"/>
                      <a:pt x="468" y="323"/>
                    </a:cubicBezTo>
                    <a:cubicBezTo>
                      <a:pt x="468" y="302"/>
                      <a:pt x="478" y="292"/>
                      <a:pt x="478" y="271"/>
                    </a:cubicBezTo>
                    <a:cubicBezTo>
                      <a:pt x="478" y="250"/>
                      <a:pt x="468" y="229"/>
                      <a:pt x="468" y="198"/>
                    </a:cubicBezTo>
                    <a:cubicBezTo>
                      <a:pt x="458" y="177"/>
                      <a:pt x="447" y="146"/>
                      <a:pt x="437" y="125"/>
                    </a:cubicBezTo>
                    <a:cubicBezTo>
                      <a:pt x="416" y="104"/>
                      <a:pt x="406" y="84"/>
                      <a:pt x="385" y="73"/>
                    </a:cubicBezTo>
                    <a:cubicBezTo>
                      <a:pt x="364" y="52"/>
                      <a:pt x="333" y="42"/>
                      <a:pt x="312" y="42"/>
                    </a:cubicBezTo>
                    <a:cubicBezTo>
                      <a:pt x="291" y="42"/>
                      <a:pt x="270" y="52"/>
                      <a:pt x="260" y="63"/>
                    </a:cubicBezTo>
                    <a:cubicBezTo>
                      <a:pt x="239" y="63"/>
                      <a:pt x="228" y="73"/>
                      <a:pt x="218" y="84"/>
                    </a:cubicBezTo>
                    <a:cubicBezTo>
                      <a:pt x="208" y="104"/>
                      <a:pt x="197" y="115"/>
                      <a:pt x="197" y="136"/>
                    </a:cubicBezTo>
                    <a:cubicBezTo>
                      <a:pt x="187" y="146"/>
                      <a:pt x="187" y="167"/>
                      <a:pt x="187" y="177"/>
                    </a:cubicBezTo>
                    <a:cubicBezTo>
                      <a:pt x="187" y="198"/>
                      <a:pt x="187" y="219"/>
                      <a:pt x="197" y="250"/>
                    </a:cubicBezTo>
                    <a:cubicBezTo>
                      <a:pt x="208" y="271"/>
                      <a:pt x="208" y="302"/>
                      <a:pt x="228" y="323"/>
                    </a:cubicBezTo>
                    <a:cubicBezTo>
                      <a:pt x="239" y="344"/>
                      <a:pt x="260" y="365"/>
                      <a:pt x="281" y="375"/>
                    </a:cubicBezTo>
                    <a:cubicBezTo>
                      <a:pt x="301" y="396"/>
                      <a:pt x="322" y="396"/>
                      <a:pt x="353" y="396"/>
                    </a:cubicBezTo>
                    <a:cubicBezTo>
                      <a:pt x="364" y="396"/>
                      <a:pt x="385" y="396"/>
                      <a:pt x="406" y="396"/>
                    </a:cubicBezTo>
                    <a:cubicBezTo>
                      <a:pt x="416" y="386"/>
                      <a:pt x="426" y="375"/>
                      <a:pt x="437" y="365"/>
                    </a:cubicBezTo>
                    <a:close/>
                    <a:moveTo>
                      <a:pt x="437" y="365"/>
                    </a:moveTo>
                    <a:lnTo>
                      <a:pt x="437" y="365"/>
                    </a:lnTo>
                    <a:close/>
                  </a:path>
                </a:pathLst>
              </a:custGeom>
              <a:solidFill>
                <a:schemeClr val="bg2"/>
              </a:solidFill>
              <a:ln>
                <a:noFill/>
              </a:ln>
              <a:effectLst/>
            </p:spPr>
            <p:txBody>
              <a:bodyPr anchor="ctr"/>
              <a:lstStyle/>
              <a:p>
                <a:pPr algn="ctr"/>
                <a:endParaRPr/>
              </a:p>
            </p:txBody>
          </p:sp>
          <p:sp>
            <p:nvSpPr>
              <p:cNvPr id="45" name="iśľîḑé"/>
              <p:cNvSpPr/>
              <p:nvPr/>
            </p:nvSpPr>
            <p:spPr bwMode="auto">
              <a:xfrm>
                <a:off x="4730602" y="1429703"/>
                <a:ext cx="419744" cy="817611"/>
              </a:xfrm>
              <a:custGeom>
                <a:avLst/>
                <a:gdLst>
                  <a:gd name="T0" fmla="*/ 502 w 503"/>
                  <a:gd name="T1" fmla="*/ 351 h 980"/>
                  <a:gd name="T2" fmla="*/ 318 w 503"/>
                  <a:gd name="T3" fmla="*/ 351 h 980"/>
                  <a:gd name="T4" fmla="*/ 318 w 503"/>
                  <a:gd name="T5" fmla="*/ 260 h 980"/>
                  <a:gd name="T6" fmla="*/ 368 w 503"/>
                  <a:gd name="T7" fmla="*/ 176 h 980"/>
                  <a:gd name="T8" fmla="*/ 485 w 503"/>
                  <a:gd name="T9" fmla="*/ 176 h 980"/>
                  <a:gd name="T10" fmla="*/ 485 w 503"/>
                  <a:gd name="T11" fmla="*/ 0 h 980"/>
                  <a:gd name="T12" fmla="*/ 284 w 503"/>
                  <a:gd name="T13" fmla="*/ 0 h 980"/>
                  <a:gd name="T14" fmla="*/ 117 w 503"/>
                  <a:gd name="T15" fmla="*/ 168 h 980"/>
                  <a:gd name="T16" fmla="*/ 117 w 503"/>
                  <a:gd name="T17" fmla="*/ 351 h 980"/>
                  <a:gd name="T18" fmla="*/ 0 w 503"/>
                  <a:gd name="T19" fmla="*/ 351 h 980"/>
                  <a:gd name="T20" fmla="*/ 0 w 503"/>
                  <a:gd name="T21" fmla="*/ 494 h 980"/>
                  <a:gd name="T22" fmla="*/ 117 w 503"/>
                  <a:gd name="T23" fmla="*/ 494 h 980"/>
                  <a:gd name="T24" fmla="*/ 117 w 503"/>
                  <a:gd name="T25" fmla="*/ 979 h 980"/>
                  <a:gd name="T26" fmla="*/ 318 w 503"/>
                  <a:gd name="T27" fmla="*/ 979 h 980"/>
                  <a:gd name="T28" fmla="*/ 318 w 503"/>
                  <a:gd name="T29" fmla="*/ 494 h 980"/>
                  <a:gd name="T30" fmla="*/ 451 w 503"/>
                  <a:gd name="T31" fmla="*/ 494 h 980"/>
                  <a:gd name="T32" fmla="*/ 502 w 503"/>
                  <a:gd name="T33" fmla="*/ 351 h 980"/>
                  <a:gd name="T34" fmla="*/ 502 w 503"/>
                  <a:gd name="T35" fmla="*/ 351 h 980"/>
                  <a:gd name="T36" fmla="*/ 502 w 503"/>
                  <a:gd name="T37" fmla="*/ 35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3" h="980">
                    <a:moveTo>
                      <a:pt x="502" y="351"/>
                    </a:moveTo>
                    <a:cubicBezTo>
                      <a:pt x="318" y="351"/>
                      <a:pt x="318" y="351"/>
                      <a:pt x="318" y="351"/>
                    </a:cubicBezTo>
                    <a:cubicBezTo>
                      <a:pt x="318" y="260"/>
                      <a:pt x="318" y="260"/>
                      <a:pt x="318" y="260"/>
                    </a:cubicBezTo>
                    <a:cubicBezTo>
                      <a:pt x="318" y="260"/>
                      <a:pt x="309" y="176"/>
                      <a:pt x="368" y="176"/>
                    </a:cubicBezTo>
                    <a:cubicBezTo>
                      <a:pt x="485" y="176"/>
                      <a:pt x="485" y="176"/>
                      <a:pt x="485" y="176"/>
                    </a:cubicBezTo>
                    <a:cubicBezTo>
                      <a:pt x="485" y="0"/>
                      <a:pt x="485" y="0"/>
                      <a:pt x="485" y="0"/>
                    </a:cubicBezTo>
                    <a:cubicBezTo>
                      <a:pt x="284" y="0"/>
                      <a:pt x="284" y="0"/>
                      <a:pt x="284" y="0"/>
                    </a:cubicBezTo>
                    <a:cubicBezTo>
                      <a:pt x="284" y="0"/>
                      <a:pt x="117" y="0"/>
                      <a:pt x="117" y="168"/>
                    </a:cubicBezTo>
                    <a:cubicBezTo>
                      <a:pt x="117" y="209"/>
                      <a:pt x="117" y="268"/>
                      <a:pt x="117" y="351"/>
                    </a:cubicBezTo>
                    <a:cubicBezTo>
                      <a:pt x="0" y="351"/>
                      <a:pt x="0" y="351"/>
                      <a:pt x="0" y="351"/>
                    </a:cubicBezTo>
                    <a:cubicBezTo>
                      <a:pt x="0" y="494"/>
                      <a:pt x="0" y="494"/>
                      <a:pt x="0" y="494"/>
                    </a:cubicBezTo>
                    <a:cubicBezTo>
                      <a:pt x="117" y="494"/>
                      <a:pt x="117" y="494"/>
                      <a:pt x="117" y="494"/>
                    </a:cubicBezTo>
                    <a:cubicBezTo>
                      <a:pt x="117" y="719"/>
                      <a:pt x="117" y="979"/>
                      <a:pt x="117" y="979"/>
                    </a:cubicBezTo>
                    <a:cubicBezTo>
                      <a:pt x="318" y="979"/>
                      <a:pt x="318" y="979"/>
                      <a:pt x="318" y="979"/>
                    </a:cubicBezTo>
                    <a:cubicBezTo>
                      <a:pt x="318" y="494"/>
                      <a:pt x="318" y="494"/>
                      <a:pt x="318" y="494"/>
                    </a:cubicBezTo>
                    <a:cubicBezTo>
                      <a:pt x="451" y="494"/>
                      <a:pt x="451" y="494"/>
                      <a:pt x="451" y="494"/>
                    </a:cubicBezTo>
                    <a:lnTo>
                      <a:pt x="502" y="351"/>
                    </a:lnTo>
                    <a:close/>
                    <a:moveTo>
                      <a:pt x="502" y="351"/>
                    </a:moveTo>
                    <a:lnTo>
                      <a:pt x="502" y="351"/>
                    </a:lnTo>
                    <a:close/>
                  </a:path>
                </a:pathLst>
              </a:custGeom>
              <a:solidFill>
                <a:schemeClr val="bg2"/>
              </a:solidFill>
              <a:ln>
                <a:noFill/>
              </a:ln>
              <a:effectLst/>
            </p:spPr>
            <p:txBody>
              <a:bodyPr anchor="ctr"/>
              <a:lstStyle/>
              <a:p>
                <a:pPr algn="ctr"/>
                <a:endParaRPr/>
              </a:p>
            </p:txBody>
          </p:sp>
          <p:grpSp>
            <p:nvGrpSpPr>
              <p:cNvPr id="46" name="i$ļîḑè"/>
              <p:cNvGrpSpPr/>
              <p:nvPr/>
            </p:nvGrpSpPr>
            <p:grpSpPr bwMode="auto">
              <a:xfrm>
                <a:off x="4656656" y="4494498"/>
                <a:ext cx="402020" cy="585315"/>
                <a:chOff x="4294188" y="1712913"/>
                <a:chExt cx="285750" cy="415925"/>
              </a:xfrm>
              <a:solidFill>
                <a:schemeClr val="bg2"/>
              </a:solidFill>
            </p:grpSpPr>
            <p:sp>
              <p:nvSpPr>
                <p:cNvPr id="47" name="ïş1îḑê"/>
                <p:cNvSpPr/>
                <p:nvPr/>
              </p:nvSpPr>
              <p:spPr bwMode="auto">
                <a:xfrm>
                  <a:off x="4294188" y="1712913"/>
                  <a:ext cx="285750" cy="415925"/>
                </a:xfrm>
                <a:custGeom>
                  <a:avLst/>
                  <a:gdLst>
                    <a:gd name="T0" fmla="*/ 396 w 793"/>
                    <a:gd name="T1" fmla="*/ 146 h 1157"/>
                    <a:gd name="T2" fmla="*/ 553 w 793"/>
                    <a:gd name="T3" fmla="*/ 209 h 1157"/>
                    <a:gd name="T4" fmla="*/ 615 w 793"/>
                    <a:gd name="T5" fmla="*/ 365 h 1157"/>
                    <a:gd name="T6" fmla="*/ 553 w 793"/>
                    <a:gd name="T7" fmla="*/ 511 h 1157"/>
                    <a:gd name="T8" fmla="*/ 396 w 793"/>
                    <a:gd name="T9" fmla="*/ 709 h 1157"/>
                    <a:gd name="T10" fmla="*/ 240 w 793"/>
                    <a:gd name="T11" fmla="*/ 511 h 1157"/>
                    <a:gd name="T12" fmla="*/ 178 w 793"/>
                    <a:gd name="T13" fmla="*/ 365 h 1157"/>
                    <a:gd name="T14" fmla="*/ 240 w 793"/>
                    <a:gd name="T15" fmla="*/ 209 h 1157"/>
                    <a:gd name="T16" fmla="*/ 396 w 793"/>
                    <a:gd name="T17" fmla="*/ 146 h 1157"/>
                    <a:gd name="T18" fmla="*/ 396 w 793"/>
                    <a:gd name="T19" fmla="*/ 0 h 1157"/>
                    <a:gd name="T20" fmla="*/ 136 w 793"/>
                    <a:gd name="T21" fmla="*/ 105 h 1157"/>
                    <a:gd name="T22" fmla="*/ 136 w 793"/>
                    <a:gd name="T23" fmla="*/ 615 h 1157"/>
                    <a:gd name="T24" fmla="*/ 396 w 793"/>
                    <a:gd name="T25" fmla="*/ 1156 h 1157"/>
                    <a:gd name="T26" fmla="*/ 646 w 793"/>
                    <a:gd name="T27" fmla="*/ 615 h 1157"/>
                    <a:gd name="T28" fmla="*/ 646 w 793"/>
                    <a:gd name="T29" fmla="*/ 105 h 1157"/>
                    <a:gd name="T30" fmla="*/ 396 w 793"/>
                    <a:gd name="T31" fmla="*/ 0 h 1157"/>
                    <a:gd name="T32" fmla="*/ 396 w 793"/>
                    <a:gd name="T33" fmla="*/ 146 h 1157"/>
                    <a:gd name="T34" fmla="*/ 396 w 793"/>
                    <a:gd name="T35" fmla="*/ 0 h 1157"/>
                    <a:gd name="T36" fmla="*/ 396 w 793"/>
                    <a:gd name="T37"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3" h="1157">
                      <a:moveTo>
                        <a:pt x="396" y="146"/>
                      </a:moveTo>
                      <a:cubicBezTo>
                        <a:pt x="448" y="146"/>
                        <a:pt x="511" y="167"/>
                        <a:pt x="553" y="209"/>
                      </a:cubicBezTo>
                      <a:cubicBezTo>
                        <a:pt x="584" y="250"/>
                        <a:pt x="615" y="302"/>
                        <a:pt x="615" y="365"/>
                      </a:cubicBezTo>
                      <a:cubicBezTo>
                        <a:pt x="615" y="417"/>
                        <a:pt x="584" y="469"/>
                        <a:pt x="553" y="511"/>
                      </a:cubicBezTo>
                      <a:cubicBezTo>
                        <a:pt x="542" y="521"/>
                        <a:pt x="469" y="594"/>
                        <a:pt x="396" y="709"/>
                      </a:cubicBezTo>
                      <a:cubicBezTo>
                        <a:pt x="323" y="594"/>
                        <a:pt x="250" y="521"/>
                        <a:pt x="240" y="511"/>
                      </a:cubicBezTo>
                      <a:cubicBezTo>
                        <a:pt x="198" y="469"/>
                        <a:pt x="178" y="417"/>
                        <a:pt x="178" y="365"/>
                      </a:cubicBezTo>
                      <a:cubicBezTo>
                        <a:pt x="178" y="302"/>
                        <a:pt x="198" y="250"/>
                        <a:pt x="240" y="209"/>
                      </a:cubicBezTo>
                      <a:cubicBezTo>
                        <a:pt x="282" y="167"/>
                        <a:pt x="334" y="146"/>
                        <a:pt x="396" y="146"/>
                      </a:cubicBezTo>
                      <a:lnTo>
                        <a:pt x="396" y="0"/>
                      </a:lnTo>
                      <a:cubicBezTo>
                        <a:pt x="303" y="0"/>
                        <a:pt x="209" y="32"/>
                        <a:pt x="136" y="105"/>
                      </a:cubicBezTo>
                      <a:cubicBezTo>
                        <a:pt x="0" y="250"/>
                        <a:pt x="0" y="480"/>
                        <a:pt x="136" y="615"/>
                      </a:cubicBezTo>
                      <a:cubicBezTo>
                        <a:pt x="136" y="615"/>
                        <a:pt x="396" y="865"/>
                        <a:pt x="396" y="1156"/>
                      </a:cubicBezTo>
                      <a:cubicBezTo>
                        <a:pt x="396" y="865"/>
                        <a:pt x="646" y="615"/>
                        <a:pt x="646" y="615"/>
                      </a:cubicBezTo>
                      <a:cubicBezTo>
                        <a:pt x="792" y="480"/>
                        <a:pt x="792" y="250"/>
                        <a:pt x="646" y="105"/>
                      </a:cubicBezTo>
                      <a:cubicBezTo>
                        <a:pt x="584" y="32"/>
                        <a:pt x="490" y="0"/>
                        <a:pt x="396" y="0"/>
                      </a:cubicBezTo>
                      <a:lnTo>
                        <a:pt x="396" y="146"/>
                      </a:lnTo>
                      <a:close/>
                      <a:moveTo>
                        <a:pt x="396" y="0"/>
                      </a:moveTo>
                      <a:lnTo>
                        <a:pt x="396" y="0"/>
                      </a:lnTo>
                      <a:close/>
                    </a:path>
                  </a:pathLst>
                </a:custGeom>
                <a:grpFill/>
                <a:ln>
                  <a:noFill/>
                </a:ln>
                <a:effectLst/>
              </p:spPr>
              <p:txBody>
                <a:bodyPr anchor="ctr"/>
                <a:lstStyle/>
                <a:p>
                  <a:pPr algn="ctr"/>
                  <a:endParaRPr/>
                </a:p>
              </p:txBody>
            </p:sp>
            <p:sp>
              <p:nvSpPr>
                <p:cNvPr id="48" name="íS1idè"/>
                <p:cNvSpPr/>
                <p:nvPr/>
              </p:nvSpPr>
              <p:spPr bwMode="auto">
                <a:xfrm>
                  <a:off x="4410075" y="1817688"/>
                  <a:ext cx="52388" cy="52387"/>
                </a:xfrm>
                <a:custGeom>
                  <a:avLst/>
                  <a:gdLst>
                    <a:gd name="T0" fmla="*/ 146 w 147"/>
                    <a:gd name="T1" fmla="*/ 73 h 147"/>
                    <a:gd name="T2" fmla="*/ 73 w 147"/>
                    <a:gd name="T3" fmla="*/ 146 h 147"/>
                    <a:gd name="T4" fmla="*/ 0 w 147"/>
                    <a:gd name="T5" fmla="*/ 73 h 147"/>
                    <a:gd name="T6" fmla="*/ 73 w 147"/>
                    <a:gd name="T7" fmla="*/ 0 h 147"/>
                    <a:gd name="T8" fmla="*/ 146 w 147"/>
                    <a:gd name="T9" fmla="*/ 73 h 147"/>
                    <a:gd name="T10" fmla="*/ 146 w 147"/>
                    <a:gd name="T11" fmla="*/ 73 h 147"/>
                    <a:gd name="T12" fmla="*/ 146 w 147"/>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147" h="147">
                      <a:moveTo>
                        <a:pt x="146" y="73"/>
                      </a:moveTo>
                      <a:cubicBezTo>
                        <a:pt x="146" y="104"/>
                        <a:pt x="115" y="146"/>
                        <a:pt x="73" y="146"/>
                      </a:cubicBezTo>
                      <a:cubicBezTo>
                        <a:pt x="32" y="146"/>
                        <a:pt x="0" y="104"/>
                        <a:pt x="0" y="73"/>
                      </a:cubicBezTo>
                      <a:cubicBezTo>
                        <a:pt x="0" y="31"/>
                        <a:pt x="32" y="0"/>
                        <a:pt x="73" y="0"/>
                      </a:cubicBezTo>
                      <a:cubicBezTo>
                        <a:pt x="115" y="0"/>
                        <a:pt x="146" y="31"/>
                        <a:pt x="146" y="73"/>
                      </a:cubicBezTo>
                      <a:close/>
                      <a:moveTo>
                        <a:pt x="146" y="73"/>
                      </a:moveTo>
                      <a:lnTo>
                        <a:pt x="146" y="73"/>
                      </a:lnTo>
                      <a:close/>
                    </a:path>
                  </a:pathLst>
                </a:custGeom>
                <a:grpFill/>
                <a:ln>
                  <a:noFill/>
                </a:ln>
                <a:effectLst/>
              </p:spPr>
              <p:txBody>
                <a:bodyPr anchor="ctr"/>
                <a:lstStyle/>
                <a:p>
                  <a:pPr algn="ctr"/>
                  <a:endParaRPr/>
                </a:p>
              </p:txBody>
            </p:sp>
          </p:grpSp>
        </p:grpSp>
        <p:sp>
          <p:nvSpPr>
            <p:cNvPr id="21" name="ísḻíḓè"/>
            <p:cNvSpPr/>
            <p:nvPr/>
          </p:nvSpPr>
          <p:spPr bwMode="auto">
            <a:xfrm>
              <a:off x="6827471" y="3918581"/>
              <a:ext cx="360052" cy="359509"/>
            </a:xfrm>
            <a:custGeom>
              <a:avLst/>
              <a:gdLst>
                <a:gd name="connsiteX0" fmla="*/ 257564 w 607639"/>
                <a:gd name="connsiteY0" fmla="*/ 417889 h 606722"/>
                <a:gd name="connsiteX1" fmla="*/ 261939 w 607639"/>
                <a:gd name="connsiteY1" fmla="*/ 435248 h 606722"/>
                <a:gd name="connsiteX2" fmla="*/ 253189 w 607639"/>
                <a:gd name="connsiteY2" fmla="*/ 435248 h 606722"/>
                <a:gd name="connsiteX3" fmla="*/ 455707 w 607639"/>
                <a:gd name="connsiteY3" fmla="*/ 316558 h 606722"/>
                <a:gd name="connsiteX4" fmla="*/ 435859 w 607639"/>
                <a:gd name="connsiteY4" fmla="*/ 336288 h 606722"/>
                <a:gd name="connsiteX5" fmla="*/ 435859 w 607639"/>
                <a:gd name="connsiteY5" fmla="*/ 494567 h 606722"/>
                <a:gd name="connsiteX6" fmla="*/ 455707 w 607639"/>
                <a:gd name="connsiteY6" fmla="*/ 514385 h 606722"/>
                <a:gd name="connsiteX7" fmla="*/ 508576 w 607639"/>
                <a:gd name="connsiteY7" fmla="*/ 514385 h 606722"/>
                <a:gd name="connsiteX8" fmla="*/ 528336 w 607639"/>
                <a:gd name="connsiteY8" fmla="*/ 494567 h 606722"/>
                <a:gd name="connsiteX9" fmla="*/ 508576 w 607639"/>
                <a:gd name="connsiteY9" fmla="*/ 474837 h 606722"/>
                <a:gd name="connsiteX10" fmla="*/ 475555 w 607639"/>
                <a:gd name="connsiteY10" fmla="*/ 474837 h 606722"/>
                <a:gd name="connsiteX11" fmla="*/ 475555 w 607639"/>
                <a:gd name="connsiteY11" fmla="*/ 435201 h 606722"/>
                <a:gd name="connsiteX12" fmla="*/ 508576 w 607639"/>
                <a:gd name="connsiteY12" fmla="*/ 435201 h 606722"/>
                <a:gd name="connsiteX13" fmla="*/ 528336 w 607639"/>
                <a:gd name="connsiteY13" fmla="*/ 415472 h 606722"/>
                <a:gd name="connsiteX14" fmla="*/ 508576 w 607639"/>
                <a:gd name="connsiteY14" fmla="*/ 395653 h 606722"/>
                <a:gd name="connsiteX15" fmla="*/ 475555 w 607639"/>
                <a:gd name="connsiteY15" fmla="*/ 395653 h 606722"/>
                <a:gd name="connsiteX16" fmla="*/ 475555 w 607639"/>
                <a:gd name="connsiteY16" fmla="*/ 356106 h 606722"/>
                <a:gd name="connsiteX17" fmla="*/ 508576 w 607639"/>
                <a:gd name="connsiteY17" fmla="*/ 356106 h 606722"/>
                <a:gd name="connsiteX18" fmla="*/ 528336 w 607639"/>
                <a:gd name="connsiteY18" fmla="*/ 336288 h 606722"/>
                <a:gd name="connsiteX19" fmla="*/ 508576 w 607639"/>
                <a:gd name="connsiteY19" fmla="*/ 316558 h 606722"/>
                <a:gd name="connsiteX20" fmla="*/ 350058 w 607639"/>
                <a:gd name="connsiteY20" fmla="*/ 316558 h 606722"/>
                <a:gd name="connsiteX21" fmla="*/ 330210 w 607639"/>
                <a:gd name="connsiteY21" fmla="*/ 336288 h 606722"/>
                <a:gd name="connsiteX22" fmla="*/ 330210 w 607639"/>
                <a:gd name="connsiteY22" fmla="*/ 494567 h 606722"/>
                <a:gd name="connsiteX23" fmla="*/ 350058 w 607639"/>
                <a:gd name="connsiteY23" fmla="*/ 514385 h 606722"/>
                <a:gd name="connsiteX24" fmla="*/ 402838 w 607639"/>
                <a:gd name="connsiteY24" fmla="*/ 514385 h 606722"/>
                <a:gd name="connsiteX25" fmla="*/ 422686 w 607639"/>
                <a:gd name="connsiteY25" fmla="*/ 494567 h 606722"/>
                <a:gd name="connsiteX26" fmla="*/ 402838 w 607639"/>
                <a:gd name="connsiteY26" fmla="*/ 474837 h 606722"/>
                <a:gd name="connsiteX27" fmla="*/ 369817 w 607639"/>
                <a:gd name="connsiteY27" fmla="*/ 474837 h 606722"/>
                <a:gd name="connsiteX28" fmla="*/ 369817 w 607639"/>
                <a:gd name="connsiteY28" fmla="*/ 336288 h 606722"/>
                <a:gd name="connsiteX29" fmla="*/ 350058 w 607639"/>
                <a:gd name="connsiteY29" fmla="*/ 316558 h 606722"/>
                <a:gd name="connsiteX30" fmla="*/ 257582 w 607639"/>
                <a:gd name="connsiteY30" fmla="*/ 316558 h 606722"/>
                <a:gd name="connsiteX31" fmla="*/ 238356 w 607639"/>
                <a:gd name="connsiteY31" fmla="*/ 331489 h 606722"/>
                <a:gd name="connsiteX32" fmla="*/ 198749 w 607639"/>
                <a:gd name="connsiteY32" fmla="*/ 489768 h 606722"/>
                <a:gd name="connsiteX33" fmla="*/ 213168 w 607639"/>
                <a:gd name="connsiteY33" fmla="*/ 513763 h 606722"/>
                <a:gd name="connsiteX34" fmla="*/ 237199 w 607639"/>
                <a:gd name="connsiteY34" fmla="*/ 499366 h 606722"/>
                <a:gd name="connsiteX35" fmla="*/ 243341 w 607639"/>
                <a:gd name="connsiteY35" fmla="*/ 474837 h 606722"/>
                <a:gd name="connsiteX36" fmla="*/ 271822 w 607639"/>
                <a:gd name="connsiteY36" fmla="*/ 474837 h 606722"/>
                <a:gd name="connsiteX37" fmla="*/ 277964 w 607639"/>
                <a:gd name="connsiteY37" fmla="*/ 499366 h 606722"/>
                <a:gd name="connsiteX38" fmla="*/ 297189 w 607639"/>
                <a:gd name="connsiteY38" fmla="*/ 514385 h 606722"/>
                <a:gd name="connsiteX39" fmla="*/ 301995 w 607639"/>
                <a:gd name="connsiteY39" fmla="*/ 513763 h 606722"/>
                <a:gd name="connsiteX40" fmla="*/ 316414 w 607639"/>
                <a:gd name="connsiteY40" fmla="*/ 489768 h 606722"/>
                <a:gd name="connsiteX41" fmla="*/ 276807 w 607639"/>
                <a:gd name="connsiteY41" fmla="*/ 331489 h 606722"/>
                <a:gd name="connsiteX42" fmla="*/ 257582 w 607639"/>
                <a:gd name="connsiteY42" fmla="*/ 316558 h 606722"/>
                <a:gd name="connsiteX43" fmla="*/ 112236 w 607639"/>
                <a:gd name="connsiteY43" fmla="*/ 316558 h 606722"/>
                <a:gd name="connsiteX44" fmla="*/ 92477 w 607639"/>
                <a:gd name="connsiteY44" fmla="*/ 336288 h 606722"/>
                <a:gd name="connsiteX45" fmla="*/ 92477 w 607639"/>
                <a:gd name="connsiteY45" fmla="*/ 415472 h 606722"/>
                <a:gd name="connsiteX46" fmla="*/ 112236 w 607639"/>
                <a:gd name="connsiteY46" fmla="*/ 435201 h 606722"/>
                <a:gd name="connsiteX47" fmla="*/ 145257 w 607639"/>
                <a:gd name="connsiteY47" fmla="*/ 435201 h 606722"/>
                <a:gd name="connsiteX48" fmla="*/ 145257 w 607639"/>
                <a:gd name="connsiteY48" fmla="*/ 474837 h 606722"/>
                <a:gd name="connsiteX49" fmla="*/ 112236 w 607639"/>
                <a:gd name="connsiteY49" fmla="*/ 474837 h 606722"/>
                <a:gd name="connsiteX50" fmla="*/ 92477 w 607639"/>
                <a:gd name="connsiteY50" fmla="*/ 494567 h 606722"/>
                <a:gd name="connsiteX51" fmla="*/ 112236 w 607639"/>
                <a:gd name="connsiteY51" fmla="*/ 514385 h 606722"/>
                <a:gd name="connsiteX52" fmla="*/ 165105 w 607639"/>
                <a:gd name="connsiteY52" fmla="*/ 514385 h 606722"/>
                <a:gd name="connsiteX53" fmla="*/ 184953 w 607639"/>
                <a:gd name="connsiteY53" fmla="*/ 494567 h 606722"/>
                <a:gd name="connsiteX54" fmla="*/ 184953 w 607639"/>
                <a:gd name="connsiteY54" fmla="*/ 415472 h 606722"/>
                <a:gd name="connsiteX55" fmla="*/ 165105 w 607639"/>
                <a:gd name="connsiteY55" fmla="*/ 395653 h 606722"/>
                <a:gd name="connsiteX56" fmla="*/ 132084 w 607639"/>
                <a:gd name="connsiteY56" fmla="*/ 395653 h 606722"/>
                <a:gd name="connsiteX57" fmla="*/ 132084 w 607639"/>
                <a:gd name="connsiteY57" fmla="*/ 356106 h 606722"/>
                <a:gd name="connsiteX58" fmla="*/ 165105 w 607639"/>
                <a:gd name="connsiteY58" fmla="*/ 356106 h 606722"/>
                <a:gd name="connsiteX59" fmla="*/ 184953 w 607639"/>
                <a:gd name="connsiteY59" fmla="*/ 336288 h 606722"/>
                <a:gd name="connsiteX60" fmla="*/ 165105 w 607639"/>
                <a:gd name="connsiteY60" fmla="*/ 316558 h 606722"/>
                <a:gd name="connsiteX61" fmla="*/ 501901 w 607639"/>
                <a:gd name="connsiteY61" fmla="*/ 145037 h 606722"/>
                <a:gd name="connsiteX62" fmla="*/ 501901 w 607639"/>
                <a:gd name="connsiteY62" fmla="*/ 184674 h 606722"/>
                <a:gd name="connsiteX63" fmla="*/ 541597 w 607639"/>
                <a:gd name="connsiteY63" fmla="*/ 224221 h 606722"/>
                <a:gd name="connsiteX64" fmla="*/ 567943 w 607639"/>
                <a:gd name="connsiteY64" fmla="*/ 214090 h 606722"/>
                <a:gd name="connsiteX65" fmla="*/ 567943 w 607639"/>
                <a:gd name="connsiteY65" fmla="*/ 164856 h 606722"/>
                <a:gd name="connsiteX66" fmla="*/ 548184 w 607639"/>
                <a:gd name="connsiteY66" fmla="*/ 145037 h 606722"/>
                <a:gd name="connsiteX67" fmla="*/ 383079 w 607639"/>
                <a:gd name="connsiteY67" fmla="*/ 145037 h 606722"/>
                <a:gd name="connsiteX68" fmla="*/ 383079 w 607639"/>
                <a:gd name="connsiteY68" fmla="*/ 184674 h 606722"/>
                <a:gd name="connsiteX69" fmla="*/ 422686 w 607639"/>
                <a:gd name="connsiteY69" fmla="*/ 224221 h 606722"/>
                <a:gd name="connsiteX70" fmla="*/ 462294 w 607639"/>
                <a:gd name="connsiteY70" fmla="*/ 184674 h 606722"/>
                <a:gd name="connsiteX71" fmla="*/ 462294 w 607639"/>
                <a:gd name="connsiteY71" fmla="*/ 145037 h 606722"/>
                <a:gd name="connsiteX72" fmla="*/ 264168 w 607639"/>
                <a:gd name="connsiteY72" fmla="*/ 145037 h 606722"/>
                <a:gd name="connsiteX73" fmla="*/ 264168 w 607639"/>
                <a:gd name="connsiteY73" fmla="*/ 184674 h 606722"/>
                <a:gd name="connsiteX74" fmla="*/ 303775 w 607639"/>
                <a:gd name="connsiteY74" fmla="*/ 224221 h 606722"/>
                <a:gd name="connsiteX75" fmla="*/ 343472 w 607639"/>
                <a:gd name="connsiteY75" fmla="*/ 184674 h 606722"/>
                <a:gd name="connsiteX76" fmla="*/ 343472 w 607639"/>
                <a:gd name="connsiteY76" fmla="*/ 145037 h 606722"/>
                <a:gd name="connsiteX77" fmla="*/ 145257 w 607639"/>
                <a:gd name="connsiteY77" fmla="*/ 145037 h 606722"/>
                <a:gd name="connsiteX78" fmla="*/ 145257 w 607639"/>
                <a:gd name="connsiteY78" fmla="*/ 184674 h 606722"/>
                <a:gd name="connsiteX79" fmla="*/ 184953 w 607639"/>
                <a:gd name="connsiteY79" fmla="*/ 224221 h 606722"/>
                <a:gd name="connsiteX80" fmla="*/ 224561 w 607639"/>
                <a:gd name="connsiteY80" fmla="*/ 184674 h 606722"/>
                <a:gd name="connsiteX81" fmla="*/ 224561 w 607639"/>
                <a:gd name="connsiteY81" fmla="*/ 145037 h 606722"/>
                <a:gd name="connsiteX82" fmla="*/ 59456 w 607639"/>
                <a:gd name="connsiteY82" fmla="*/ 145037 h 606722"/>
                <a:gd name="connsiteX83" fmla="*/ 39608 w 607639"/>
                <a:gd name="connsiteY83" fmla="*/ 164856 h 606722"/>
                <a:gd name="connsiteX84" fmla="*/ 39608 w 607639"/>
                <a:gd name="connsiteY84" fmla="*/ 214090 h 606722"/>
                <a:gd name="connsiteX85" fmla="*/ 66042 w 607639"/>
                <a:gd name="connsiteY85" fmla="*/ 224221 h 606722"/>
                <a:gd name="connsiteX86" fmla="*/ 105650 w 607639"/>
                <a:gd name="connsiteY86" fmla="*/ 184674 h 606722"/>
                <a:gd name="connsiteX87" fmla="*/ 105650 w 607639"/>
                <a:gd name="connsiteY87" fmla="*/ 145037 h 606722"/>
                <a:gd name="connsiteX88" fmla="*/ 99063 w 607639"/>
                <a:gd name="connsiteY88" fmla="*/ 0 h 606722"/>
                <a:gd name="connsiteX89" fmla="*/ 508576 w 607639"/>
                <a:gd name="connsiteY89" fmla="*/ 0 h 606722"/>
                <a:gd name="connsiteX90" fmla="*/ 567943 w 607639"/>
                <a:gd name="connsiteY90" fmla="*/ 59366 h 606722"/>
                <a:gd name="connsiteX91" fmla="*/ 567943 w 607639"/>
                <a:gd name="connsiteY91" fmla="*/ 108956 h 606722"/>
                <a:gd name="connsiteX92" fmla="*/ 607639 w 607639"/>
                <a:gd name="connsiteY92" fmla="*/ 164856 h 606722"/>
                <a:gd name="connsiteX93" fmla="*/ 607639 w 607639"/>
                <a:gd name="connsiteY93" fmla="*/ 586904 h 606722"/>
                <a:gd name="connsiteX94" fmla="*/ 587791 w 607639"/>
                <a:gd name="connsiteY94" fmla="*/ 606722 h 606722"/>
                <a:gd name="connsiteX95" fmla="*/ 19848 w 607639"/>
                <a:gd name="connsiteY95" fmla="*/ 606722 h 606722"/>
                <a:gd name="connsiteX96" fmla="*/ 0 w 607639"/>
                <a:gd name="connsiteY96" fmla="*/ 586904 h 606722"/>
                <a:gd name="connsiteX97" fmla="*/ 0 w 607639"/>
                <a:gd name="connsiteY97" fmla="*/ 164856 h 606722"/>
                <a:gd name="connsiteX98" fmla="*/ 39608 w 607639"/>
                <a:gd name="connsiteY98" fmla="*/ 108956 h 606722"/>
                <a:gd name="connsiteX99" fmla="*/ 39608 w 607639"/>
                <a:gd name="connsiteY99" fmla="*/ 59366 h 606722"/>
                <a:gd name="connsiteX100" fmla="*/ 99063 w 607639"/>
                <a:gd name="connsiteY100"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607639" h="606722">
                  <a:moveTo>
                    <a:pt x="257564" y="417889"/>
                  </a:moveTo>
                  <a:lnTo>
                    <a:pt x="261939" y="435248"/>
                  </a:lnTo>
                  <a:lnTo>
                    <a:pt x="253189" y="435248"/>
                  </a:lnTo>
                  <a:close/>
                  <a:moveTo>
                    <a:pt x="455707" y="316558"/>
                  </a:moveTo>
                  <a:cubicBezTo>
                    <a:pt x="444760" y="316558"/>
                    <a:pt x="435859" y="325357"/>
                    <a:pt x="435859" y="336288"/>
                  </a:cubicBezTo>
                  <a:lnTo>
                    <a:pt x="435859" y="494567"/>
                  </a:lnTo>
                  <a:cubicBezTo>
                    <a:pt x="435859" y="505498"/>
                    <a:pt x="444760" y="514385"/>
                    <a:pt x="455707" y="514385"/>
                  </a:cubicBezTo>
                  <a:lnTo>
                    <a:pt x="508576" y="514385"/>
                  </a:lnTo>
                  <a:cubicBezTo>
                    <a:pt x="519524" y="514385"/>
                    <a:pt x="528336" y="505498"/>
                    <a:pt x="528336" y="494567"/>
                  </a:cubicBezTo>
                  <a:cubicBezTo>
                    <a:pt x="528336" y="483636"/>
                    <a:pt x="519524" y="474837"/>
                    <a:pt x="508576" y="474837"/>
                  </a:cubicBezTo>
                  <a:lnTo>
                    <a:pt x="475555" y="474837"/>
                  </a:lnTo>
                  <a:lnTo>
                    <a:pt x="475555" y="435201"/>
                  </a:lnTo>
                  <a:lnTo>
                    <a:pt x="508576" y="435201"/>
                  </a:lnTo>
                  <a:cubicBezTo>
                    <a:pt x="519524" y="435201"/>
                    <a:pt x="528336" y="426403"/>
                    <a:pt x="528336" y="415472"/>
                  </a:cubicBezTo>
                  <a:cubicBezTo>
                    <a:pt x="528336" y="404541"/>
                    <a:pt x="519524" y="395653"/>
                    <a:pt x="508576" y="395653"/>
                  </a:cubicBezTo>
                  <a:lnTo>
                    <a:pt x="475555" y="395653"/>
                  </a:lnTo>
                  <a:lnTo>
                    <a:pt x="475555" y="356106"/>
                  </a:lnTo>
                  <a:lnTo>
                    <a:pt x="508576" y="356106"/>
                  </a:lnTo>
                  <a:cubicBezTo>
                    <a:pt x="519524" y="356106"/>
                    <a:pt x="528336" y="347219"/>
                    <a:pt x="528336" y="336288"/>
                  </a:cubicBezTo>
                  <a:cubicBezTo>
                    <a:pt x="528336" y="325357"/>
                    <a:pt x="519524" y="316558"/>
                    <a:pt x="508576" y="316558"/>
                  </a:cubicBezTo>
                  <a:close/>
                  <a:moveTo>
                    <a:pt x="350058" y="316558"/>
                  </a:moveTo>
                  <a:cubicBezTo>
                    <a:pt x="339110" y="316558"/>
                    <a:pt x="330210" y="325357"/>
                    <a:pt x="330210" y="336288"/>
                  </a:cubicBezTo>
                  <a:lnTo>
                    <a:pt x="330210" y="494567"/>
                  </a:lnTo>
                  <a:cubicBezTo>
                    <a:pt x="330210" y="505498"/>
                    <a:pt x="339110" y="514385"/>
                    <a:pt x="350058" y="514385"/>
                  </a:cubicBezTo>
                  <a:lnTo>
                    <a:pt x="402838" y="514385"/>
                  </a:lnTo>
                  <a:cubicBezTo>
                    <a:pt x="413786" y="514385"/>
                    <a:pt x="422686" y="505498"/>
                    <a:pt x="422686" y="494567"/>
                  </a:cubicBezTo>
                  <a:cubicBezTo>
                    <a:pt x="422686" y="483636"/>
                    <a:pt x="413786" y="474837"/>
                    <a:pt x="402838" y="474837"/>
                  </a:cubicBezTo>
                  <a:lnTo>
                    <a:pt x="369817" y="474837"/>
                  </a:lnTo>
                  <a:lnTo>
                    <a:pt x="369817" y="336288"/>
                  </a:lnTo>
                  <a:cubicBezTo>
                    <a:pt x="369817" y="325357"/>
                    <a:pt x="361006" y="316558"/>
                    <a:pt x="350058" y="316558"/>
                  </a:cubicBezTo>
                  <a:close/>
                  <a:moveTo>
                    <a:pt x="257582" y="316558"/>
                  </a:moveTo>
                  <a:cubicBezTo>
                    <a:pt x="248503" y="316558"/>
                    <a:pt x="240581" y="322690"/>
                    <a:pt x="238356" y="331489"/>
                  </a:cubicBezTo>
                  <a:lnTo>
                    <a:pt x="198749" y="489768"/>
                  </a:lnTo>
                  <a:cubicBezTo>
                    <a:pt x="196079" y="500343"/>
                    <a:pt x="202487" y="511097"/>
                    <a:pt x="213168" y="513763"/>
                  </a:cubicBezTo>
                  <a:cubicBezTo>
                    <a:pt x="223759" y="516429"/>
                    <a:pt x="234529" y="509942"/>
                    <a:pt x="237199" y="499366"/>
                  </a:cubicBezTo>
                  <a:lnTo>
                    <a:pt x="243341" y="474837"/>
                  </a:lnTo>
                  <a:lnTo>
                    <a:pt x="271822" y="474837"/>
                  </a:lnTo>
                  <a:lnTo>
                    <a:pt x="277964" y="499366"/>
                  </a:lnTo>
                  <a:cubicBezTo>
                    <a:pt x="280189" y="508342"/>
                    <a:pt x="288288" y="514385"/>
                    <a:pt x="297189" y="514385"/>
                  </a:cubicBezTo>
                  <a:cubicBezTo>
                    <a:pt x="298791" y="514385"/>
                    <a:pt x="300393" y="514207"/>
                    <a:pt x="301995" y="513763"/>
                  </a:cubicBezTo>
                  <a:cubicBezTo>
                    <a:pt x="312587" y="511097"/>
                    <a:pt x="319084" y="500432"/>
                    <a:pt x="316414" y="489768"/>
                  </a:cubicBezTo>
                  <a:lnTo>
                    <a:pt x="276807" y="331489"/>
                  </a:lnTo>
                  <a:cubicBezTo>
                    <a:pt x="274582" y="322690"/>
                    <a:pt x="266660" y="316558"/>
                    <a:pt x="257582" y="316558"/>
                  </a:cubicBezTo>
                  <a:close/>
                  <a:moveTo>
                    <a:pt x="112236" y="316558"/>
                  </a:moveTo>
                  <a:cubicBezTo>
                    <a:pt x="101377" y="316558"/>
                    <a:pt x="92477" y="325357"/>
                    <a:pt x="92477" y="336288"/>
                  </a:cubicBezTo>
                  <a:lnTo>
                    <a:pt x="92477" y="415472"/>
                  </a:lnTo>
                  <a:cubicBezTo>
                    <a:pt x="92477" y="426403"/>
                    <a:pt x="101377" y="435201"/>
                    <a:pt x="112236" y="435201"/>
                  </a:cubicBezTo>
                  <a:lnTo>
                    <a:pt x="145257" y="435201"/>
                  </a:lnTo>
                  <a:lnTo>
                    <a:pt x="145257" y="474837"/>
                  </a:lnTo>
                  <a:lnTo>
                    <a:pt x="112236" y="474837"/>
                  </a:lnTo>
                  <a:cubicBezTo>
                    <a:pt x="101377" y="474837"/>
                    <a:pt x="92477" y="483636"/>
                    <a:pt x="92477" y="494567"/>
                  </a:cubicBezTo>
                  <a:cubicBezTo>
                    <a:pt x="92477" y="505498"/>
                    <a:pt x="101377" y="514385"/>
                    <a:pt x="112236" y="514385"/>
                  </a:cubicBezTo>
                  <a:lnTo>
                    <a:pt x="165105" y="514385"/>
                  </a:lnTo>
                  <a:cubicBezTo>
                    <a:pt x="176053" y="514385"/>
                    <a:pt x="184953" y="505498"/>
                    <a:pt x="184953" y="494567"/>
                  </a:cubicBezTo>
                  <a:lnTo>
                    <a:pt x="184953" y="415472"/>
                  </a:lnTo>
                  <a:cubicBezTo>
                    <a:pt x="184953" y="404541"/>
                    <a:pt x="176053" y="395653"/>
                    <a:pt x="165105" y="395653"/>
                  </a:cubicBezTo>
                  <a:lnTo>
                    <a:pt x="132084" y="395653"/>
                  </a:lnTo>
                  <a:lnTo>
                    <a:pt x="132084" y="356106"/>
                  </a:lnTo>
                  <a:lnTo>
                    <a:pt x="165105" y="356106"/>
                  </a:lnTo>
                  <a:cubicBezTo>
                    <a:pt x="176053" y="356106"/>
                    <a:pt x="184953" y="347219"/>
                    <a:pt x="184953" y="336288"/>
                  </a:cubicBezTo>
                  <a:cubicBezTo>
                    <a:pt x="184953" y="325357"/>
                    <a:pt x="176053" y="316558"/>
                    <a:pt x="165105" y="316558"/>
                  </a:cubicBezTo>
                  <a:close/>
                  <a:moveTo>
                    <a:pt x="501901" y="145037"/>
                  </a:moveTo>
                  <a:lnTo>
                    <a:pt x="501901" y="184674"/>
                  </a:lnTo>
                  <a:cubicBezTo>
                    <a:pt x="501901" y="206447"/>
                    <a:pt x="519702" y="224221"/>
                    <a:pt x="541597" y="224221"/>
                  </a:cubicBezTo>
                  <a:cubicBezTo>
                    <a:pt x="551388" y="224221"/>
                    <a:pt x="560733" y="220578"/>
                    <a:pt x="567943" y="214090"/>
                  </a:cubicBezTo>
                  <a:lnTo>
                    <a:pt x="567943" y="164856"/>
                  </a:lnTo>
                  <a:cubicBezTo>
                    <a:pt x="567943" y="153924"/>
                    <a:pt x="559131" y="145037"/>
                    <a:pt x="548184" y="145037"/>
                  </a:cubicBezTo>
                  <a:close/>
                  <a:moveTo>
                    <a:pt x="383079" y="145037"/>
                  </a:moveTo>
                  <a:lnTo>
                    <a:pt x="383079" y="184674"/>
                  </a:lnTo>
                  <a:cubicBezTo>
                    <a:pt x="383079" y="206447"/>
                    <a:pt x="400791" y="224221"/>
                    <a:pt x="422686" y="224221"/>
                  </a:cubicBezTo>
                  <a:cubicBezTo>
                    <a:pt x="444493" y="224221"/>
                    <a:pt x="462294" y="206447"/>
                    <a:pt x="462294" y="184674"/>
                  </a:cubicBezTo>
                  <a:lnTo>
                    <a:pt x="462294" y="145037"/>
                  </a:lnTo>
                  <a:close/>
                  <a:moveTo>
                    <a:pt x="264168" y="145037"/>
                  </a:moveTo>
                  <a:lnTo>
                    <a:pt x="264168" y="184674"/>
                  </a:lnTo>
                  <a:cubicBezTo>
                    <a:pt x="264168" y="206447"/>
                    <a:pt x="281969" y="224221"/>
                    <a:pt x="303775" y="224221"/>
                  </a:cubicBezTo>
                  <a:cubicBezTo>
                    <a:pt x="325671" y="224221"/>
                    <a:pt x="343472" y="206447"/>
                    <a:pt x="343472" y="184674"/>
                  </a:cubicBezTo>
                  <a:lnTo>
                    <a:pt x="343472" y="145037"/>
                  </a:lnTo>
                  <a:close/>
                  <a:moveTo>
                    <a:pt x="145257" y="145037"/>
                  </a:moveTo>
                  <a:lnTo>
                    <a:pt x="145257" y="184674"/>
                  </a:lnTo>
                  <a:cubicBezTo>
                    <a:pt x="145257" y="206447"/>
                    <a:pt x="163058" y="224221"/>
                    <a:pt x="184953" y="224221"/>
                  </a:cubicBezTo>
                  <a:cubicBezTo>
                    <a:pt x="206759" y="224221"/>
                    <a:pt x="224561" y="206447"/>
                    <a:pt x="224561" y="184674"/>
                  </a:cubicBezTo>
                  <a:lnTo>
                    <a:pt x="224561" y="145037"/>
                  </a:lnTo>
                  <a:close/>
                  <a:moveTo>
                    <a:pt x="59456" y="145037"/>
                  </a:moveTo>
                  <a:cubicBezTo>
                    <a:pt x="48508" y="145037"/>
                    <a:pt x="39608" y="153924"/>
                    <a:pt x="39608" y="164856"/>
                  </a:cubicBezTo>
                  <a:lnTo>
                    <a:pt x="39608" y="214090"/>
                  </a:lnTo>
                  <a:cubicBezTo>
                    <a:pt x="46817" y="220578"/>
                    <a:pt x="56163" y="224221"/>
                    <a:pt x="66042" y="224221"/>
                  </a:cubicBezTo>
                  <a:cubicBezTo>
                    <a:pt x="87937" y="224221"/>
                    <a:pt x="105650" y="206447"/>
                    <a:pt x="105650" y="184674"/>
                  </a:cubicBezTo>
                  <a:lnTo>
                    <a:pt x="105650" y="145037"/>
                  </a:lnTo>
                  <a:close/>
                  <a:moveTo>
                    <a:pt x="99063" y="0"/>
                  </a:moveTo>
                  <a:lnTo>
                    <a:pt x="508576" y="0"/>
                  </a:lnTo>
                  <a:cubicBezTo>
                    <a:pt x="541330" y="0"/>
                    <a:pt x="567943" y="26661"/>
                    <a:pt x="567943" y="59366"/>
                  </a:cubicBezTo>
                  <a:lnTo>
                    <a:pt x="567943" y="108956"/>
                  </a:lnTo>
                  <a:cubicBezTo>
                    <a:pt x="591084" y="117043"/>
                    <a:pt x="607639" y="139083"/>
                    <a:pt x="607639" y="164856"/>
                  </a:cubicBezTo>
                  <a:lnTo>
                    <a:pt x="607639" y="586904"/>
                  </a:lnTo>
                  <a:cubicBezTo>
                    <a:pt x="607639" y="597835"/>
                    <a:pt x="598739" y="606722"/>
                    <a:pt x="587791" y="606722"/>
                  </a:cubicBezTo>
                  <a:lnTo>
                    <a:pt x="19848" y="606722"/>
                  </a:lnTo>
                  <a:cubicBezTo>
                    <a:pt x="8901" y="606722"/>
                    <a:pt x="0" y="597835"/>
                    <a:pt x="0" y="586904"/>
                  </a:cubicBezTo>
                  <a:lnTo>
                    <a:pt x="0" y="164856"/>
                  </a:lnTo>
                  <a:cubicBezTo>
                    <a:pt x="0" y="139083"/>
                    <a:pt x="16555" y="117043"/>
                    <a:pt x="39608" y="108956"/>
                  </a:cubicBezTo>
                  <a:lnTo>
                    <a:pt x="39608" y="59366"/>
                  </a:lnTo>
                  <a:cubicBezTo>
                    <a:pt x="39608" y="26661"/>
                    <a:pt x="66309" y="0"/>
                    <a:pt x="99063"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9" name="i$ľiḋê"/>
            <p:cNvSpPr txBox="1"/>
            <p:nvPr/>
          </p:nvSpPr>
          <p:spPr bwMode="auto">
            <a:xfrm>
              <a:off x="6586734" y="2418744"/>
              <a:ext cx="5340535" cy="18181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pPr>
              <a:r>
                <a:rPr lang="en-US" altLang="zh-CN" sz="2000" dirty="0"/>
                <a:t>1. More feature engineering should be applied.</a:t>
              </a:r>
            </a:p>
            <a:p>
              <a:pPr algn="l" eaLnBrk="1" hangingPunct="1">
                <a:lnSpc>
                  <a:spcPct val="100000"/>
                </a:lnSpc>
                <a:spcBef>
                  <a:spcPct val="0"/>
                </a:spcBef>
              </a:pPr>
              <a:endParaRPr lang="en-US" altLang="zh-CN" sz="2000" dirty="0"/>
            </a:p>
            <a:p>
              <a:pPr>
                <a:spcBef>
                  <a:spcPct val="0"/>
                </a:spcBef>
              </a:pPr>
              <a:r>
                <a:rPr lang="en-US" altLang="zh-CN" sz="2000" dirty="0"/>
                <a:t>2. Neural network structure adjustment.</a:t>
              </a:r>
            </a:p>
            <a:p>
              <a:pPr algn="l" eaLnBrk="1" hangingPunct="1">
                <a:lnSpc>
                  <a:spcPct val="100000"/>
                </a:lnSpc>
                <a:spcBef>
                  <a:spcPct val="0"/>
                </a:spcBef>
              </a:pPr>
              <a:endParaRPr lang="en-US" altLang="zh-CN" sz="2000" dirty="0"/>
            </a:p>
          </p:txBody>
        </p:sp>
        <p:cxnSp>
          <p:nvCxnSpPr>
            <p:cNvPr id="13" name="直接连接符 12"/>
            <p:cNvCxnSpPr/>
            <p:nvPr/>
          </p:nvCxnSpPr>
          <p:spPr>
            <a:xfrm>
              <a:off x="6088000" y="1123950"/>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2" name="标题 1"/>
          <p:cNvSpPr>
            <a:spLocks noGrp="1"/>
          </p:cNvSpPr>
          <p:nvPr>
            <p:ph type="title"/>
          </p:nvPr>
        </p:nvSpPr>
        <p:spPr/>
        <p:txBody>
          <a:bodyPr/>
          <a:lstStyle/>
          <a:p>
            <a:r>
              <a:rPr lang="en-US" altLang="zh-CN" dirty="0"/>
              <a:t>Further improvements</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1</a:t>
            </a:fld>
            <a:endParaRPr lang="zh-CN" alt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5" imgW="9525" imgH="9525" progId="TCLayout.ActiveDocument.1">
                  <p:embed/>
                </p:oleObj>
              </mc:Choice>
              <mc:Fallback>
                <p:oleObj name="think-cell Slide" r:id="rId5" imgW="9525" imgH="9525" progId="TCLayout.ActiveDocument.1">
                  <p:embed/>
                  <p:pic>
                    <p:nvPicPr>
                      <p:cNvPr id="0"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t>Thanks!</a:t>
            </a:r>
            <a:br>
              <a:rPr lang="en-US" altLang="zh-CN"/>
            </a:br>
            <a:endParaRPr lang="zh-CN" altLang="en-US" dirty="0"/>
          </a:p>
        </p:txBody>
      </p:sp>
      <p:sp>
        <p:nvSpPr>
          <p:cNvPr id="9" name="文本占位符 8"/>
          <p:cNvSpPr>
            <a:spLocks noGrp="1"/>
          </p:cNvSpPr>
          <p:nvPr>
            <p:ph type="body" sz="quarter" idx="10"/>
          </p:nvPr>
        </p:nvSpPr>
        <p:spPr>
          <a:xfrm>
            <a:off x="5763242" y="3502264"/>
            <a:ext cx="5654410" cy="844684"/>
          </a:xfrm>
        </p:spPr>
        <p:txBody>
          <a:bodyPr/>
          <a:lstStyle/>
          <a:p>
            <a:r>
              <a:rPr lang="en-US" altLang="zh-CN" dirty="0"/>
              <a:t> </a:t>
            </a:r>
          </a:p>
          <a:p>
            <a:pPr algn="l"/>
            <a:r>
              <a:rPr lang="en-US" altLang="zh-CN" dirty="0"/>
              <a:t>LU Fei	20797386</a:t>
            </a:r>
          </a:p>
          <a:p>
            <a:pPr algn="l"/>
            <a:r>
              <a:rPr lang="en-US" altLang="zh-CN" dirty="0"/>
              <a:t>XIONG Yi	20787642</a:t>
            </a:r>
          </a:p>
          <a:p>
            <a:pPr algn="l"/>
            <a:r>
              <a:rPr lang="en-US" altLang="zh-CN" dirty="0"/>
              <a:t>ZHENG Hao 20797594</a:t>
            </a:r>
          </a:p>
        </p:txBody>
      </p:sp>
      <p:sp>
        <p:nvSpPr>
          <p:cNvPr id="10" name="文本框 9"/>
          <p:cNvSpPr txBox="1"/>
          <p:nvPr/>
        </p:nvSpPr>
        <p:spPr>
          <a:xfrm>
            <a:off x="4095146" y="3555274"/>
            <a:ext cx="1273216" cy="369332"/>
          </a:xfrm>
          <a:prstGeom prst="rect">
            <a:avLst/>
          </a:prstGeom>
          <a:noFill/>
        </p:spPr>
        <p:txBody>
          <a:bodyPr wrap="square" rtlCol="0">
            <a:spAutoFit/>
          </a:bodyPr>
          <a:lstStyle/>
          <a:p>
            <a:pPr algn="ctr"/>
            <a:r>
              <a:rPr kumimoji="1" lang="en-US" altLang="zh-CN" dirty="0"/>
              <a:t>Group 4</a:t>
            </a:r>
            <a:endParaRPr kumimoji="1"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Background</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3</a:t>
            </a:fld>
            <a:endParaRPr lang="zh-CN" altLang="en-US"/>
          </a:p>
        </p:txBody>
      </p:sp>
      <p:grpSp>
        <p:nvGrpSpPr>
          <p:cNvPr id="5" name="82c00bc9-d39c-4c28-b77d-d3025646a9f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1424947"/>
            <a:ext cx="12191999" cy="4667327"/>
            <a:chOff x="0" y="1331155"/>
            <a:chExt cx="12191999" cy="4667327"/>
          </a:xfrm>
        </p:grpSpPr>
        <p:sp>
          <p:nvSpPr>
            <p:cNvPr id="6" name="ïś1íḓé"/>
            <p:cNvSpPr txBox="1"/>
            <p:nvPr/>
          </p:nvSpPr>
          <p:spPr>
            <a:xfrm>
              <a:off x="668337" y="1331155"/>
              <a:ext cx="10850562" cy="581926"/>
            </a:xfrm>
            <a:prstGeom prst="rect">
              <a:avLst/>
            </a:prstGeom>
            <a:noFill/>
            <a:ln>
              <a:noFill/>
            </a:ln>
          </p:spPr>
          <p:txBody>
            <a:bodyPr wrap="square" lIns="91440" tIns="45720" rIns="91440" bIns="45720" anchor="ctr" anchorCtr="0">
              <a:normAutofit/>
            </a:bodyPr>
            <a:lstStyle/>
            <a:p>
              <a:pPr algn="ctr">
                <a:buSzPct val="25000"/>
              </a:pPr>
              <a:r>
                <a:rPr lang="en-US" sz="2800" dirty="0">
                  <a:solidFill>
                    <a:srgbClr val="3A3838"/>
                  </a:solidFill>
                </a:rPr>
                <a:t>Walmart Sales prediction</a:t>
              </a:r>
            </a:p>
          </p:txBody>
        </p:sp>
        <p:sp>
          <p:nvSpPr>
            <p:cNvPr id="7" name="îś1ïḍe"/>
            <p:cNvSpPr txBox="1"/>
            <p:nvPr/>
          </p:nvSpPr>
          <p:spPr>
            <a:xfrm>
              <a:off x="668339" y="2312740"/>
              <a:ext cx="10850557" cy="2381126"/>
            </a:xfrm>
            <a:prstGeom prst="rect">
              <a:avLst/>
            </a:prstGeom>
            <a:noFill/>
            <a:ln>
              <a:noFill/>
            </a:ln>
          </p:spPr>
          <p:txBody>
            <a:bodyPr wrap="square" lIns="91440" tIns="45720" rIns="91440" bIns="45720" anchor="t" anchorCtr="0">
              <a:noAutofit/>
            </a:bodyPr>
            <a:lstStyle/>
            <a:p>
              <a:pPr>
                <a:lnSpc>
                  <a:spcPct val="150000"/>
                </a:lnSpc>
                <a:buSzPct val="25000"/>
              </a:pPr>
              <a:r>
                <a:rPr lang="en-US" sz="2000" dirty="0"/>
                <a:t>Can be seen as a time series prediction.</a:t>
              </a:r>
              <a:r>
                <a:rPr lang="en-US" altLang="zh-CN" sz="2000" dirty="0"/>
                <a:t> 			Worth studying.</a:t>
              </a:r>
              <a:endParaRPr lang="en-US" sz="2000" dirty="0"/>
            </a:p>
            <a:p>
              <a:pPr>
                <a:lnSpc>
                  <a:spcPct val="150000"/>
                </a:lnSpc>
                <a:buSzPct val="25000"/>
              </a:pPr>
              <a:r>
                <a:rPr lang="en-US" sz="2000" dirty="0"/>
                <a:t>Need historical data.</a:t>
              </a:r>
              <a:r>
                <a:rPr lang="en-US" altLang="zh-CN" sz="2000" dirty="0"/>
                <a:t> 						Need Current features.</a:t>
              </a:r>
            </a:p>
          </p:txBody>
        </p:sp>
        <p:grpSp>
          <p:nvGrpSpPr>
            <p:cNvPr id="10" name="íŝḻiḋe"/>
            <p:cNvGrpSpPr/>
            <p:nvPr/>
          </p:nvGrpSpPr>
          <p:grpSpPr>
            <a:xfrm>
              <a:off x="0" y="4110303"/>
              <a:ext cx="12191999" cy="511894"/>
              <a:chOff x="0" y="4233486"/>
              <a:chExt cx="12191999" cy="511894"/>
            </a:xfrm>
          </p:grpSpPr>
          <p:sp>
            <p:nvSpPr>
              <p:cNvPr id="21" name="ïṣḷïḋê"/>
              <p:cNvSpPr/>
              <p:nvPr/>
            </p:nvSpPr>
            <p:spPr bwMode="auto">
              <a:xfrm>
                <a:off x="0" y="4245806"/>
                <a:ext cx="12191999" cy="499574"/>
              </a:xfrm>
              <a:prstGeom prst="rect">
                <a:avLst/>
              </a:prstGeom>
              <a:blipFill>
                <a:blip r:embed="rId4"/>
                <a:stretch>
                  <a:fillRect t="-652562" b="-620207"/>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22" name="ïṧḻïďe"/>
              <p:cNvSpPr/>
              <p:nvPr/>
            </p:nvSpPr>
            <p:spPr bwMode="auto">
              <a:xfrm>
                <a:off x="669926" y="4233486"/>
                <a:ext cx="10833372" cy="499574"/>
              </a:xfrm>
              <a:prstGeom prst="rect">
                <a:avLst/>
              </a:prstGeom>
              <a:solidFill>
                <a:schemeClr val="tx1">
                  <a:alpha val="70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grpSp>
        <p:grpSp>
          <p:nvGrpSpPr>
            <p:cNvPr id="11" name="ï$ḷîḋê"/>
            <p:cNvGrpSpPr/>
            <p:nvPr/>
          </p:nvGrpSpPr>
          <p:grpSpPr>
            <a:xfrm>
              <a:off x="5509187" y="3202891"/>
              <a:ext cx="1176548" cy="1201418"/>
              <a:chOff x="5563111" y="3348034"/>
              <a:chExt cx="1176548" cy="1201418"/>
            </a:xfrm>
          </p:grpSpPr>
          <p:sp>
            <p:nvSpPr>
              <p:cNvPr id="19" name="íṡḻîdé"/>
              <p:cNvSpPr/>
              <p:nvPr/>
            </p:nvSpPr>
            <p:spPr>
              <a:xfrm>
                <a:off x="5563111" y="3372904"/>
                <a:ext cx="1176548" cy="1176548"/>
              </a:xfrm>
              <a:prstGeom prst="wedgeEllipseCallout">
                <a:avLst>
                  <a:gd name="adj1" fmla="val -2386"/>
                  <a:gd name="adj2" fmla="val 66692"/>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20" name="ïṣľïḋê"/>
              <p:cNvSpPr/>
              <p:nvPr/>
            </p:nvSpPr>
            <p:spPr bwMode="auto">
              <a:xfrm>
                <a:off x="5848948" y="3348034"/>
                <a:ext cx="601952" cy="600824"/>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a:bodyPr>
              <a:lstStyle/>
              <a:p>
                <a:endParaRPr lang="zh-CN" altLang="en-US"/>
              </a:p>
            </p:txBody>
          </p:sp>
        </p:grpSp>
        <p:cxnSp>
          <p:nvCxnSpPr>
            <p:cNvPr id="13" name="直接连接符 12"/>
            <p:cNvCxnSpPr/>
            <p:nvPr/>
          </p:nvCxnSpPr>
          <p:spPr>
            <a:xfrm>
              <a:off x="4208063" y="4622197"/>
              <a:ext cx="0" cy="137628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8021768" y="4622197"/>
              <a:ext cx="0" cy="137628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í$1íḋê"/>
            <p:cNvSpPr/>
            <p:nvPr/>
          </p:nvSpPr>
          <p:spPr bwMode="auto">
            <a:xfrm>
              <a:off x="3401462" y="4165600"/>
              <a:ext cx="373860" cy="359662"/>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p>
          </p:txBody>
        </p:sp>
        <p:sp>
          <p:nvSpPr>
            <p:cNvPr id="16" name="iśḻîḋè"/>
            <p:cNvSpPr/>
            <p:nvPr/>
          </p:nvSpPr>
          <p:spPr bwMode="auto">
            <a:xfrm>
              <a:off x="8419600" y="4158501"/>
              <a:ext cx="359617" cy="373860"/>
            </a:xfrm>
            <a:custGeom>
              <a:avLst/>
              <a:gdLst>
                <a:gd name="connsiteX0" fmla="*/ 466115 w 584423"/>
                <a:gd name="connsiteY0" fmla="*/ 268189 h 607568"/>
                <a:gd name="connsiteX1" fmla="*/ 479022 w 584423"/>
                <a:gd name="connsiteY1" fmla="*/ 270337 h 607568"/>
                <a:gd name="connsiteX2" fmla="*/ 502991 w 584423"/>
                <a:gd name="connsiteY2" fmla="*/ 288288 h 607568"/>
                <a:gd name="connsiteX3" fmla="*/ 527113 w 584423"/>
                <a:gd name="connsiteY3" fmla="*/ 270337 h 607568"/>
                <a:gd name="connsiteX4" fmla="*/ 539866 w 584423"/>
                <a:gd name="connsiteY4" fmla="*/ 268189 h 607568"/>
                <a:gd name="connsiteX5" fmla="*/ 552004 w 584423"/>
                <a:gd name="connsiteY5" fmla="*/ 271871 h 607568"/>
                <a:gd name="connsiteX6" fmla="*/ 584423 w 584423"/>
                <a:gd name="connsiteY6" fmla="*/ 316826 h 607568"/>
                <a:gd name="connsiteX7" fmla="*/ 584423 w 584423"/>
                <a:gd name="connsiteY7" fmla="*/ 389092 h 607568"/>
                <a:gd name="connsiteX8" fmla="*/ 582118 w 584423"/>
                <a:gd name="connsiteY8" fmla="*/ 396917 h 607568"/>
                <a:gd name="connsiteX9" fmla="*/ 557842 w 584423"/>
                <a:gd name="connsiteY9" fmla="*/ 433894 h 607568"/>
                <a:gd name="connsiteX10" fmla="*/ 557842 w 584423"/>
                <a:gd name="connsiteY10" fmla="*/ 530708 h 607568"/>
                <a:gd name="connsiteX11" fmla="*/ 543553 w 584423"/>
                <a:gd name="connsiteY11" fmla="*/ 544977 h 607568"/>
                <a:gd name="connsiteX12" fmla="*/ 462428 w 584423"/>
                <a:gd name="connsiteY12" fmla="*/ 544977 h 607568"/>
                <a:gd name="connsiteX13" fmla="*/ 448139 w 584423"/>
                <a:gd name="connsiteY13" fmla="*/ 530708 h 607568"/>
                <a:gd name="connsiteX14" fmla="*/ 448139 w 584423"/>
                <a:gd name="connsiteY14" fmla="*/ 433894 h 607568"/>
                <a:gd name="connsiteX15" fmla="*/ 423863 w 584423"/>
                <a:gd name="connsiteY15" fmla="*/ 396917 h 607568"/>
                <a:gd name="connsiteX16" fmla="*/ 421558 w 584423"/>
                <a:gd name="connsiteY16" fmla="*/ 389092 h 607568"/>
                <a:gd name="connsiteX17" fmla="*/ 421558 w 584423"/>
                <a:gd name="connsiteY17" fmla="*/ 316826 h 607568"/>
                <a:gd name="connsiteX18" fmla="*/ 453977 w 584423"/>
                <a:gd name="connsiteY18" fmla="*/ 271871 h 607568"/>
                <a:gd name="connsiteX19" fmla="*/ 466115 w 584423"/>
                <a:gd name="connsiteY19" fmla="*/ 268189 h 607568"/>
                <a:gd name="connsiteX20" fmla="*/ 44557 w 584423"/>
                <a:gd name="connsiteY20" fmla="*/ 268189 h 607568"/>
                <a:gd name="connsiteX21" fmla="*/ 57310 w 584423"/>
                <a:gd name="connsiteY21" fmla="*/ 270337 h 607568"/>
                <a:gd name="connsiteX22" fmla="*/ 81432 w 584423"/>
                <a:gd name="connsiteY22" fmla="*/ 288288 h 607568"/>
                <a:gd name="connsiteX23" fmla="*/ 105401 w 584423"/>
                <a:gd name="connsiteY23" fmla="*/ 270337 h 607568"/>
                <a:gd name="connsiteX24" fmla="*/ 118308 w 584423"/>
                <a:gd name="connsiteY24" fmla="*/ 268189 h 607568"/>
                <a:gd name="connsiteX25" fmla="*/ 130446 w 584423"/>
                <a:gd name="connsiteY25" fmla="*/ 271871 h 607568"/>
                <a:gd name="connsiteX26" fmla="*/ 162865 w 584423"/>
                <a:gd name="connsiteY26" fmla="*/ 316826 h 607568"/>
                <a:gd name="connsiteX27" fmla="*/ 162865 w 584423"/>
                <a:gd name="connsiteY27" fmla="*/ 389092 h 607568"/>
                <a:gd name="connsiteX28" fmla="*/ 160560 w 584423"/>
                <a:gd name="connsiteY28" fmla="*/ 396917 h 607568"/>
                <a:gd name="connsiteX29" fmla="*/ 136284 w 584423"/>
                <a:gd name="connsiteY29" fmla="*/ 433894 h 607568"/>
                <a:gd name="connsiteX30" fmla="*/ 136284 w 584423"/>
                <a:gd name="connsiteY30" fmla="*/ 530708 h 607568"/>
                <a:gd name="connsiteX31" fmla="*/ 121995 w 584423"/>
                <a:gd name="connsiteY31" fmla="*/ 544977 h 607568"/>
                <a:gd name="connsiteX32" fmla="*/ 40870 w 584423"/>
                <a:gd name="connsiteY32" fmla="*/ 544977 h 607568"/>
                <a:gd name="connsiteX33" fmla="*/ 26581 w 584423"/>
                <a:gd name="connsiteY33" fmla="*/ 530708 h 607568"/>
                <a:gd name="connsiteX34" fmla="*/ 26581 w 584423"/>
                <a:gd name="connsiteY34" fmla="*/ 433894 h 607568"/>
                <a:gd name="connsiteX35" fmla="*/ 2305 w 584423"/>
                <a:gd name="connsiteY35" fmla="*/ 396917 h 607568"/>
                <a:gd name="connsiteX36" fmla="*/ 0 w 584423"/>
                <a:gd name="connsiteY36" fmla="*/ 389092 h 607568"/>
                <a:gd name="connsiteX37" fmla="*/ 0 w 584423"/>
                <a:gd name="connsiteY37" fmla="*/ 316826 h 607568"/>
                <a:gd name="connsiteX38" fmla="*/ 32419 w 584423"/>
                <a:gd name="connsiteY38" fmla="*/ 271871 h 607568"/>
                <a:gd name="connsiteX39" fmla="*/ 44557 w 584423"/>
                <a:gd name="connsiteY39" fmla="*/ 268189 h 607568"/>
                <a:gd name="connsiteX40" fmla="*/ 283757 w 584423"/>
                <a:gd name="connsiteY40" fmla="*/ 227644 h 607568"/>
                <a:gd name="connsiteX41" fmla="*/ 300667 w 584423"/>
                <a:gd name="connsiteY41" fmla="*/ 227644 h 607568"/>
                <a:gd name="connsiteX42" fmla="*/ 306663 w 584423"/>
                <a:gd name="connsiteY42" fmla="*/ 230253 h 607568"/>
                <a:gd name="connsiteX43" fmla="*/ 307739 w 584423"/>
                <a:gd name="connsiteY43" fmla="*/ 239459 h 607568"/>
                <a:gd name="connsiteX44" fmla="*/ 298669 w 584423"/>
                <a:gd name="connsiteY44" fmla="*/ 252962 h 607568"/>
                <a:gd name="connsiteX45" fmla="*/ 302973 w 584423"/>
                <a:gd name="connsiteY45" fmla="*/ 288561 h 607568"/>
                <a:gd name="connsiteX46" fmla="*/ 294672 w 584423"/>
                <a:gd name="connsiteY46" fmla="*/ 310810 h 607568"/>
                <a:gd name="connsiteX47" fmla="*/ 289752 w 584423"/>
                <a:gd name="connsiteY47" fmla="*/ 310810 h 607568"/>
                <a:gd name="connsiteX48" fmla="*/ 281451 w 584423"/>
                <a:gd name="connsiteY48" fmla="*/ 288561 h 607568"/>
                <a:gd name="connsiteX49" fmla="*/ 285755 w 584423"/>
                <a:gd name="connsiteY49" fmla="*/ 252962 h 607568"/>
                <a:gd name="connsiteX50" fmla="*/ 276685 w 584423"/>
                <a:gd name="connsiteY50" fmla="*/ 239459 h 607568"/>
                <a:gd name="connsiteX51" fmla="*/ 277761 w 584423"/>
                <a:gd name="connsiteY51" fmla="*/ 230253 h 607568"/>
                <a:gd name="connsiteX52" fmla="*/ 283757 w 584423"/>
                <a:gd name="connsiteY52" fmla="*/ 227644 h 607568"/>
                <a:gd name="connsiteX53" fmla="*/ 243694 w 584423"/>
                <a:gd name="connsiteY53" fmla="*/ 226776 h 607568"/>
                <a:gd name="connsiteX54" fmla="*/ 248918 w 584423"/>
                <a:gd name="connsiteY54" fmla="*/ 230304 h 607568"/>
                <a:gd name="connsiteX55" fmla="*/ 285947 w 584423"/>
                <a:gd name="connsiteY55" fmla="*/ 331870 h 607568"/>
                <a:gd name="connsiteX56" fmla="*/ 298546 w 584423"/>
                <a:gd name="connsiteY56" fmla="*/ 331870 h 607568"/>
                <a:gd name="connsiteX57" fmla="*/ 335575 w 584423"/>
                <a:gd name="connsiteY57" fmla="*/ 230304 h 607568"/>
                <a:gd name="connsiteX58" fmla="*/ 342336 w 584423"/>
                <a:gd name="connsiteY58" fmla="*/ 226929 h 607568"/>
                <a:gd name="connsiteX59" fmla="*/ 360005 w 584423"/>
                <a:gd name="connsiteY59" fmla="*/ 232299 h 607568"/>
                <a:gd name="connsiteX60" fmla="*/ 360005 w 584423"/>
                <a:gd name="connsiteY60" fmla="*/ 232452 h 607568"/>
                <a:gd name="connsiteX61" fmla="*/ 397495 w 584423"/>
                <a:gd name="connsiteY61" fmla="*/ 284002 h 607568"/>
                <a:gd name="connsiteX62" fmla="*/ 397495 w 584423"/>
                <a:gd name="connsiteY62" fmla="*/ 391704 h 607568"/>
                <a:gd name="connsiteX63" fmla="*/ 396573 w 584423"/>
                <a:gd name="connsiteY63" fmla="*/ 394619 h 607568"/>
                <a:gd name="connsiteX64" fmla="*/ 358008 w 584423"/>
                <a:gd name="connsiteY64" fmla="*/ 453379 h 607568"/>
                <a:gd name="connsiteX65" fmla="*/ 358008 w 584423"/>
                <a:gd name="connsiteY65" fmla="*/ 602045 h 607568"/>
                <a:gd name="connsiteX66" fmla="*/ 352476 w 584423"/>
                <a:gd name="connsiteY66" fmla="*/ 607568 h 607568"/>
                <a:gd name="connsiteX67" fmla="*/ 232017 w 584423"/>
                <a:gd name="connsiteY67" fmla="*/ 607568 h 607568"/>
                <a:gd name="connsiteX68" fmla="*/ 226485 w 584423"/>
                <a:gd name="connsiteY68" fmla="*/ 602045 h 607568"/>
                <a:gd name="connsiteX69" fmla="*/ 226485 w 584423"/>
                <a:gd name="connsiteY69" fmla="*/ 453379 h 607568"/>
                <a:gd name="connsiteX70" fmla="*/ 187920 w 584423"/>
                <a:gd name="connsiteY70" fmla="*/ 394619 h 607568"/>
                <a:gd name="connsiteX71" fmla="*/ 186998 w 584423"/>
                <a:gd name="connsiteY71" fmla="*/ 391704 h 607568"/>
                <a:gd name="connsiteX72" fmla="*/ 186998 w 584423"/>
                <a:gd name="connsiteY72" fmla="*/ 284309 h 607568"/>
                <a:gd name="connsiteX73" fmla="*/ 224488 w 584423"/>
                <a:gd name="connsiteY73" fmla="*/ 232299 h 607568"/>
                <a:gd name="connsiteX74" fmla="*/ 243694 w 584423"/>
                <a:gd name="connsiteY74" fmla="*/ 226776 h 607568"/>
                <a:gd name="connsiteX75" fmla="*/ 503026 w 584423"/>
                <a:gd name="connsiteY75" fmla="*/ 160466 h 607568"/>
                <a:gd name="connsiteX76" fmla="*/ 550975 w 584423"/>
                <a:gd name="connsiteY76" fmla="*/ 208274 h 607568"/>
                <a:gd name="connsiteX77" fmla="*/ 503026 w 584423"/>
                <a:gd name="connsiteY77" fmla="*/ 256082 h 607568"/>
                <a:gd name="connsiteX78" fmla="*/ 455077 w 584423"/>
                <a:gd name="connsiteY78" fmla="*/ 208274 h 607568"/>
                <a:gd name="connsiteX79" fmla="*/ 503026 w 584423"/>
                <a:gd name="connsiteY79" fmla="*/ 160466 h 607568"/>
                <a:gd name="connsiteX80" fmla="*/ 81397 w 584423"/>
                <a:gd name="connsiteY80" fmla="*/ 160466 h 607568"/>
                <a:gd name="connsiteX81" fmla="*/ 129346 w 584423"/>
                <a:gd name="connsiteY81" fmla="*/ 208274 h 607568"/>
                <a:gd name="connsiteX82" fmla="*/ 81397 w 584423"/>
                <a:gd name="connsiteY82" fmla="*/ 256082 h 607568"/>
                <a:gd name="connsiteX83" fmla="*/ 33448 w 584423"/>
                <a:gd name="connsiteY83" fmla="*/ 208274 h 607568"/>
                <a:gd name="connsiteX84" fmla="*/ 81397 w 584423"/>
                <a:gd name="connsiteY84" fmla="*/ 160466 h 607568"/>
                <a:gd name="connsiteX85" fmla="*/ 292212 w 584423"/>
                <a:gd name="connsiteY85" fmla="*/ 79174 h 607568"/>
                <a:gd name="connsiteX86" fmla="*/ 353957 w 584423"/>
                <a:gd name="connsiteY86" fmla="*/ 140848 h 607568"/>
                <a:gd name="connsiteX87" fmla="*/ 292212 w 584423"/>
                <a:gd name="connsiteY87" fmla="*/ 202522 h 607568"/>
                <a:gd name="connsiteX88" fmla="*/ 230467 w 584423"/>
                <a:gd name="connsiteY88" fmla="*/ 140848 h 607568"/>
                <a:gd name="connsiteX89" fmla="*/ 292212 w 584423"/>
                <a:gd name="connsiteY89" fmla="*/ 79174 h 607568"/>
                <a:gd name="connsiteX90" fmla="*/ 292212 w 584423"/>
                <a:gd name="connsiteY90" fmla="*/ 0 h 607568"/>
                <a:gd name="connsiteX91" fmla="*/ 504683 w 584423"/>
                <a:gd name="connsiteY91" fmla="*/ 105068 h 607568"/>
                <a:gd name="connsiteX92" fmla="*/ 501764 w 584423"/>
                <a:gd name="connsiteY92" fmla="*/ 126542 h 607568"/>
                <a:gd name="connsiteX93" fmla="*/ 492546 w 584423"/>
                <a:gd name="connsiteY93" fmla="*/ 129610 h 607568"/>
                <a:gd name="connsiteX94" fmla="*/ 480409 w 584423"/>
                <a:gd name="connsiteY94" fmla="*/ 123628 h 607568"/>
                <a:gd name="connsiteX95" fmla="*/ 292212 w 584423"/>
                <a:gd name="connsiteY95" fmla="*/ 30677 h 607568"/>
                <a:gd name="connsiteX96" fmla="*/ 104014 w 584423"/>
                <a:gd name="connsiteY96" fmla="*/ 123628 h 607568"/>
                <a:gd name="connsiteX97" fmla="*/ 82659 w 584423"/>
                <a:gd name="connsiteY97" fmla="*/ 126542 h 607568"/>
                <a:gd name="connsiteX98" fmla="*/ 79740 w 584423"/>
                <a:gd name="connsiteY98" fmla="*/ 105068 h 607568"/>
                <a:gd name="connsiteX99" fmla="*/ 292212 w 584423"/>
                <a:gd name="connsiteY99"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84423" h="607568">
                  <a:moveTo>
                    <a:pt x="466115" y="268189"/>
                  </a:moveTo>
                  <a:cubicBezTo>
                    <a:pt x="470571" y="266808"/>
                    <a:pt x="475334" y="267575"/>
                    <a:pt x="479022" y="270337"/>
                  </a:cubicBezTo>
                  <a:lnTo>
                    <a:pt x="502991" y="288288"/>
                  </a:lnTo>
                  <a:lnTo>
                    <a:pt x="527113" y="270337"/>
                  </a:lnTo>
                  <a:cubicBezTo>
                    <a:pt x="530647" y="267575"/>
                    <a:pt x="535410" y="266808"/>
                    <a:pt x="539866" y="268189"/>
                  </a:cubicBezTo>
                  <a:cubicBezTo>
                    <a:pt x="539866" y="268189"/>
                    <a:pt x="551850" y="271871"/>
                    <a:pt x="552004" y="271871"/>
                  </a:cubicBezTo>
                  <a:cubicBezTo>
                    <a:pt x="571363" y="278315"/>
                    <a:pt x="584423" y="296420"/>
                    <a:pt x="584423" y="316826"/>
                  </a:cubicBezTo>
                  <a:lnTo>
                    <a:pt x="584423" y="389092"/>
                  </a:lnTo>
                  <a:cubicBezTo>
                    <a:pt x="584423" y="391854"/>
                    <a:pt x="583655" y="394615"/>
                    <a:pt x="582118" y="396917"/>
                  </a:cubicBezTo>
                  <a:lnTo>
                    <a:pt x="557842" y="433894"/>
                  </a:lnTo>
                  <a:lnTo>
                    <a:pt x="557842" y="530708"/>
                  </a:lnTo>
                  <a:cubicBezTo>
                    <a:pt x="557842" y="538686"/>
                    <a:pt x="551389" y="544977"/>
                    <a:pt x="543553" y="544977"/>
                  </a:cubicBezTo>
                  <a:lnTo>
                    <a:pt x="462428" y="544977"/>
                  </a:lnTo>
                  <a:cubicBezTo>
                    <a:pt x="454592" y="544977"/>
                    <a:pt x="448139" y="538686"/>
                    <a:pt x="448139" y="530708"/>
                  </a:cubicBezTo>
                  <a:lnTo>
                    <a:pt x="448139" y="433894"/>
                  </a:lnTo>
                  <a:lnTo>
                    <a:pt x="423863" y="396917"/>
                  </a:lnTo>
                  <a:cubicBezTo>
                    <a:pt x="422326" y="394615"/>
                    <a:pt x="421558" y="391854"/>
                    <a:pt x="421558" y="389092"/>
                  </a:cubicBezTo>
                  <a:lnTo>
                    <a:pt x="421558" y="316826"/>
                  </a:lnTo>
                  <a:cubicBezTo>
                    <a:pt x="421558" y="296420"/>
                    <a:pt x="434618" y="278315"/>
                    <a:pt x="453977" y="271871"/>
                  </a:cubicBezTo>
                  <a:cubicBezTo>
                    <a:pt x="454131" y="271871"/>
                    <a:pt x="466115" y="268189"/>
                    <a:pt x="466115" y="268189"/>
                  </a:cubicBezTo>
                  <a:close/>
                  <a:moveTo>
                    <a:pt x="44557" y="268189"/>
                  </a:moveTo>
                  <a:cubicBezTo>
                    <a:pt x="49013" y="266808"/>
                    <a:pt x="53776" y="267575"/>
                    <a:pt x="57310" y="270337"/>
                  </a:cubicBezTo>
                  <a:lnTo>
                    <a:pt x="81432" y="288288"/>
                  </a:lnTo>
                  <a:lnTo>
                    <a:pt x="105401" y="270337"/>
                  </a:lnTo>
                  <a:cubicBezTo>
                    <a:pt x="109089" y="267575"/>
                    <a:pt x="113852" y="266808"/>
                    <a:pt x="118308" y="268189"/>
                  </a:cubicBezTo>
                  <a:cubicBezTo>
                    <a:pt x="118308" y="268189"/>
                    <a:pt x="130292" y="271871"/>
                    <a:pt x="130446" y="271871"/>
                  </a:cubicBezTo>
                  <a:cubicBezTo>
                    <a:pt x="149805" y="278315"/>
                    <a:pt x="162865" y="296420"/>
                    <a:pt x="162865" y="316826"/>
                  </a:cubicBezTo>
                  <a:lnTo>
                    <a:pt x="162865" y="389092"/>
                  </a:lnTo>
                  <a:cubicBezTo>
                    <a:pt x="162865" y="391854"/>
                    <a:pt x="162097" y="394615"/>
                    <a:pt x="160560" y="396917"/>
                  </a:cubicBezTo>
                  <a:lnTo>
                    <a:pt x="136284" y="433894"/>
                  </a:lnTo>
                  <a:lnTo>
                    <a:pt x="136284" y="530708"/>
                  </a:lnTo>
                  <a:cubicBezTo>
                    <a:pt x="136284" y="538686"/>
                    <a:pt x="129831" y="544977"/>
                    <a:pt x="121995" y="544977"/>
                  </a:cubicBezTo>
                  <a:lnTo>
                    <a:pt x="40870" y="544977"/>
                  </a:lnTo>
                  <a:cubicBezTo>
                    <a:pt x="33034" y="544977"/>
                    <a:pt x="26581" y="538686"/>
                    <a:pt x="26581" y="530708"/>
                  </a:cubicBezTo>
                  <a:lnTo>
                    <a:pt x="26581" y="433894"/>
                  </a:lnTo>
                  <a:lnTo>
                    <a:pt x="2305" y="396917"/>
                  </a:lnTo>
                  <a:cubicBezTo>
                    <a:pt x="768" y="394615"/>
                    <a:pt x="0" y="391854"/>
                    <a:pt x="0" y="389092"/>
                  </a:cubicBezTo>
                  <a:lnTo>
                    <a:pt x="0" y="316826"/>
                  </a:lnTo>
                  <a:cubicBezTo>
                    <a:pt x="0" y="296420"/>
                    <a:pt x="13060" y="278315"/>
                    <a:pt x="32419" y="271871"/>
                  </a:cubicBezTo>
                  <a:cubicBezTo>
                    <a:pt x="32573" y="271871"/>
                    <a:pt x="44557" y="268189"/>
                    <a:pt x="44557" y="268189"/>
                  </a:cubicBezTo>
                  <a:close/>
                  <a:moveTo>
                    <a:pt x="283757" y="227644"/>
                  </a:moveTo>
                  <a:lnTo>
                    <a:pt x="300667" y="227644"/>
                  </a:lnTo>
                  <a:cubicBezTo>
                    <a:pt x="302973" y="227644"/>
                    <a:pt x="305126" y="228565"/>
                    <a:pt x="306663" y="230253"/>
                  </a:cubicBezTo>
                  <a:cubicBezTo>
                    <a:pt x="309123" y="232861"/>
                    <a:pt x="309430" y="236544"/>
                    <a:pt x="307739" y="239459"/>
                  </a:cubicBezTo>
                  <a:lnTo>
                    <a:pt x="298669" y="252962"/>
                  </a:lnTo>
                  <a:lnTo>
                    <a:pt x="302973" y="288561"/>
                  </a:lnTo>
                  <a:lnTo>
                    <a:pt x="294672" y="310810"/>
                  </a:lnTo>
                  <a:cubicBezTo>
                    <a:pt x="293749" y="312958"/>
                    <a:pt x="290675" y="312958"/>
                    <a:pt x="289752" y="310810"/>
                  </a:cubicBezTo>
                  <a:lnTo>
                    <a:pt x="281451" y="288561"/>
                  </a:lnTo>
                  <a:lnTo>
                    <a:pt x="285755" y="252962"/>
                  </a:lnTo>
                  <a:lnTo>
                    <a:pt x="276685" y="239459"/>
                  </a:lnTo>
                  <a:cubicBezTo>
                    <a:pt x="274994" y="236544"/>
                    <a:pt x="275302" y="232861"/>
                    <a:pt x="277761" y="230253"/>
                  </a:cubicBezTo>
                  <a:cubicBezTo>
                    <a:pt x="279299" y="228565"/>
                    <a:pt x="281451" y="227644"/>
                    <a:pt x="283757" y="227644"/>
                  </a:cubicBezTo>
                  <a:close/>
                  <a:moveTo>
                    <a:pt x="243694" y="226776"/>
                  </a:moveTo>
                  <a:cubicBezTo>
                    <a:pt x="245999" y="226776"/>
                    <a:pt x="248150" y="228157"/>
                    <a:pt x="248918" y="230304"/>
                  </a:cubicBezTo>
                  <a:lnTo>
                    <a:pt x="285947" y="331870"/>
                  </a:lnTo>
                  <a:cubicBezTo>
                    <a:pt x="288098" y="337700"/>
                    <a:pt x="296395" y="337700"/>
                    <a:pt x="298546" y="331870"/>
                  </a:cubicBezTo>
                  <a:lnTo>
                    <a:pt x="335575" y="230304"/>
                  </a:lnTo>
                  <a:cubicBezTo>
                    <a:pt x="336651" y="227543"/>
                    <a:pt x="339570" y="226162"/>
                    <a:pt x="342336" y="226929"/>
                  </a:cubicBezTo>
                  <a:lnTo>
                    <a:pt x="360005" y="232299"/>
                  </a:lnTo>
                  <a:lnTo>
                    <a:pt x="360005" y="232452"/>
                  </a:lnTo>
                  <a:cubicBezTo>
                    <a:pt x="382438" y="239663"/>
                    <a:pt x="397495" y="260528"/>
                    <a:pt x="397495" y="284002"/>
                  </a:cubicBezTo>
                  <a:lnTo>
                    <a:pt x="397495" y="391704"/>
                  </a:lnTo>
                  <a:cubicBezTo>
                    <a:pt x="397495" y="392778"/>
                    <a:pt x="397188" y="393852"/>
                    <a:pt x="396573" y="394619"/>
                  </a:cubicBezTo>
                  <a:lnTo>
                    <a:pt x="358008" y="453379"/>
                  </a:lnTo>
                  <a:lnTo>
                    <a:pt x="358008" y="602045"/>
                  </a:lnTo>
                  <a:cubicBezTo>
                    <a:pt x="358008" y="605113"/>
                    <a:pt x="355549" y="607568"/>
                    <a:pt x="352476" y="607568"/>
                  </a:cubicBezTo>
                  <a:lnTo>
                    <a:pt x="232017" y="607568"/>
                  </a:lnTo>
                  <a:cubicBezTo>
                    <a:pt x="228944" y="607568"/>
                    <a:pt x="226485" y="605113"/>
                    <a:pt x="226485" y="602045"/>
                  </a:cubicBezTo>
                  <a:lnTo>
                    <a:pt x="226485" y="453379"/>
                  </a:lnTo>
                  <a:lnTo>
                    <a:pt x="187920" y="394619"/>
                  </a:lnTo>
                  <a:cubicBezTo>
                    <a:pt x="187305" y="393852"/>
                    <a:pt x="186998" y="392778"/>
                    <a:pt x="186998" y="391704"/>
                  </a:cubicBezTo>
                  <a:lnTo>
                    <a:pt x="186998" y="284309"/>
                  </a:lnTo>
                  <a:cubicBezTo>
                    <a:pt x="186998" y="260682"/>
                    <a:pt x="202055" y="239817"/>
                    <a:pt x="224488" y="232299"/>
                  </a:cubicBezTo>
                  <a:cubicBezTo>
                    <a:pt x="224488" y="232299"/>
                    <a:pt x="243233" y="226776"/>
                    <a:pt x="243694" y="226776"/>
                  </a:cubicBezTo>
                  <a:close/>
                  <a:moveTo>
                    <a:pt x="503026" y="160466"/>
                  </a:moveTo>
                  <a:cubicBezTo>
                    <a:pt x="529508" y="160466"/>
                    <a:pt x="550975" y="181870"/>
                    <a:pt x="550975" y="208274"/>
                  </a:cubicBezTo>
                  <a:cubicBezTo>
                    <a:pt x="550975" y="234678"/>
                    <a:pt x="529508" y="256082"/>
                    <a:pt x="503026" y="256082"/>
                  </a:cubicBezTo>
                  <a:cubicBezTo>
                    <a:pt x="476544" y="256082"/>
                    <a:pt x="455077" y="234678"/>
                    <a:pt x="455077" y="208274"/>
                  </a:cubicBezTo>
                  <a:cubicBezTo>
                    <a:pt x="455077" y="181870"/>
                    <a:pt x="476544" y="160466"/>
                    <a:pt x="503026" y="160466"/>
                  </a:cubicBezTo>
                  <a:close/>
                  <a:moveTo>
                    <a:pt x="81397" y="160466"/>
                  </a:moveTo>
                  <a:cubicBezTo>
                    <a:pt x="107879" y="160466"/>
                    <a:pt x="129346" y="181870"/>
                    <a:pt x="129346" y="208274"/>
                  </a:cubicBezTo>
                  <a:cubicBezTo>
                    <a:pt x="129346" y="234678"/>
                    <a:pt x="107879" y="256082"/>
                    <a:pt x="81397" y="256082"/>
                  </a:cubicBezTo>
                  <a:cubicBezTo>
                    <a:pt x="54915" y="256082"/>
                    <a:pt x="33448" y="234678"/>
                    <a:pt x="33448" y="208274"/>
                  </a:cubicBezTo>
                  <a:cubicBezTo>
                    <a:pt x="33448" y="181870"/>
                    <a:pt x="54915" y="160466"/>
                    <a:pt x="81397" y="160466"/>
                  </a:cubicBezTo>
                  <a:close/>
                  <a:moveTo>
                    <a:pt x="292212" y="79174"/>
                  </a:moveTo>
                  <a:cubicBezTo>
                    <a:pt x="326313" y="79174"/>
                    <a:pt x="353957" y="106786"/>
                    <a:pt x="353957" y="140848"/>
                  </a:cubicBezTo>
                  <a:cubicBezTo>
                    <a:pt x="353957" y="174910"/>
                    <a:pt x="326313" y="202522"/>
                    <a:pt x="292212" y="202522"/>
                  </a:cubicBezTo>
                  <a:cubicBezTo>
                    <a:pt x="258111" y="202522"/>
                    <a:pt x="230467" y="174910"/>
                    <a:pt x="230467" y="140848"/>
                  </a:cubicBezTo>
                  <a:cubicBezTo>
                    <a:pt x="230467" y="106786"/>
                    <a:pt x="258111" y="79174"/>
                    <a:pt x="292212" y="79174"/>
                  </a:cubicBezTo>
                  <a:close/>
                  <a:moveTo>
                    <a:pt x="292212" y="0"/>
                  </a:moveTo>
                  <a:cubicBezTo>
                    <a:pt x="376247" y="0"/>
                    <a:pt x="453677" y="38346"/>
                    <a:pt x="504683" y="105068"/>
                  </a:cubicBezTo>
                  <a:cubicBezTo>
                    <a:pt x="509906" y="111817"/>
                    <a:pt x="508523" y="121481"/>
                    <a:pt x="501764" y="126542"/>
                  </a:cubicBezTo>
                  <a:cubicBezTo>
                    <a:pt x="498998" y="128690"/>
                    <a:pt x="495772" y="129610"/>
                    <a:pt x="492546" y="129610"/>
                  </a:cubicBezTo>
                  <a:cubicBezTo>
                    <a:pt x="487937" y="129610"/>
                    <a:pt x="483328" y="127616"/>
                    <a:pt x="480409" y="123628"/>
                  </a:cubicBezTo>
                  <a:cubicBezTo>
                    <a:pt x="435088" y="64575"/>
                    <a:pt x="366569" y="30677"/>
                    <a:pt x="292212" y="30677"/>
                  </a:cubicBezTo>
                  <a:cubicBezTo>
                    <a:pt x="217854" y="30677"/>
                    <a:pt x="149335" y="64575"/>
                    <a:pt x="104014" y="123628"/>
                  </a:cubicBezTo>
                  <a:cubicBezTo>
                    <a:pt x="98944" y="130377"/>
                    <a:pt x="89265" y="131604"/>
                    <a:pt x="82659" y="126542"/>
                  </a:cubicBezTo>
                  <a:cubicBezTo>
                    <a:pt x="75900" y="121481"/>
                    <a:pt x="74517" y="111817"/>
                    <a:pt x="79740" y="105068"/>
                  </a:cubicBezTo>
                  <a:cubicBezTo>
                    <a:pt x="130746" y="38346"/>
                    <a:pt x="208176" y="0"/>
                    <a:pt x="292212" y="0"/>
                  </a:cubicBezTo>
                  <a:close/>
                </a:path>
              </a:pathLst>
            </a:custGeom>
            <a:solidFill>
              <a:schemeClr val="bg1"/>
            </a:solidFill>
            <a:ln>
              <a:noFill/>
            </a:ln>
          </p:spPr>
          <p:txBody>
            <a:bodyPr/>
            <a:lstStyle/>
            <a:p>
              <a:endParaRPr lang="zh-CN" altLang="en-US"/>
            </a:p>
          </p:txBody>
        </p:sp>
      </p:grpSp>
      <p:pic>
        <p:nvPicPr>
          <p:cNvPr id="27" name="图片 26"/>
          <p:cNvPicPr>
            <a:picLocks noChangeAspect="1"/>
          </p:cNvPicPr>
          <p:nvPr/>
        </p:nvPicPr>
        <p:blipFill>
          <a:blip r:embed="rId5"/>
          <a:stretch>
            <a:fillRect/>
          </a:stretch>
        </p:blipFill>
        <p:spPr>
          <a:xfrm>
            <a:off x="1572418" y="4732344"/>
            <a:ext cx="9042400" cy="171450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roblem Defini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4</a:t>
            </a:fld>
            <a:endParaRPr lang="zh-CN" altLang="en-US"/>
          </a:p>
        </p:txBody>
      </p:sp>
      <p:grpSp>
        <p:nvGrpSpPr>
          <p:cNvPr id="5" name="f66dfd7e-daf7-4158-a6ac-93997a64ed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39403" y="1229946"/>
            <a:ext cx="10875222" cy="4423707"/>
            <a:chOff x="645265" y="1130300"/>
            <a:chExt cx="10875222" cy="4423707"/>
          </a:xfrm>
        </p:grpSpPr>
        <p:grpSp>
          <p:nvGrpSpPr>
            <p:cNvPr id="6" name="iś1iḓê"/>
            <p:cNvGrpSpPr/>
            <p:nvPr/>
          </p:nvGrpSpPr>
          <p:grpSpPr>
            <a:xfrm>
              <a:off x="3851175" y="3259025"/>
              <a:ext cx="4489651" cy="1619648"/>
              <a:chOff x="3276181" y="3308425"/>
              <a:chExt cx="5639638" cy="2034504"/>
            </a:xfrm>
          </p:grpSpPr>
          <p:sp>
            <p:nvSpPr>
              <p:cNvPr id="22" name="îšľiďé"/>
              <p:cNvSpPr/>
              <p:nvPr/>
            </p:nvSpPr>
            <p:spPr bwMode="auto">
              <a:xfrm rot="5400000">
                <a:off x="7870206" y="4297315"/>
                <a:ext cx="1359718" cy="731509"/>
              </a:xfrm>
              <a:custGeom>
                <a:avLst/>
                <a:gdLst>
                  <a:gd name="T0" fmla="*/ 462 w 920"/>
                  <a:gd name="T1" fmla="*/ 0 h 396"/>
                  <a:gd name="T2" fmla="*/ 0 w 920"/>
                  <a:gd name="T3" fmla="*/ 396 h 396"/>
                  <a:gd name="T4" fmla="*/ 462 w 920"/>
                  <a:gd name="T5" fmla="*/ 396 h 396"/>
                  <a:gd name="T6" fmla="*/ 920 w 920"/>
                  <a:gd name="T7" fmla="*/ 396 h 396"/>
                  <a:gd name="T8" fmla="*/ 462 w 920"/>
                  <a:gd name="T9" fmla="*/ 0 h 396"/>
                </a:gdLst>
                <a:ahLst/>
                <a:cxnLst>
                  <a:cxn ang="0">
                    <a:pos x="T0" y="T1"/>
                  </a:cxn>
                  <a:cxn ang="0">
                    <a:pos x="T2" y="T3"/>
                  </a:cxn>
                  <a:cxn ang="0">
                    <a:pos x="T4" y="T5"/>
                  </a:cxn>
                  <a:cxn ang="0">
                    <a:pos x="T6" y="T7"/>
                  </a:cxn>
                  <a:cxn ang="0">
                    <a:pos x="T8" y="T9"/>
                  </a:cxn>
                </a:cxnLst>
                <a:rect l="0" t="0" r="r" b="b"/>
                <a:pathLst>
                  <a:path w="920" h="396">
                    <a:moveTo>
                      <a:pt x="462" y="0"/>
                    </a:moveTo>
                    <a:lnTo>
                      <a:pt x="0" y="396"/>
                    </a:lnTo>
                    <a:lnTo>
                      <a:pt x="462" y="396"/>
                    </a:lnTo>
                    <a:lnTo>
                      <a:pt x="920" y="396"/>
                    </a:lnTo>
                    <a:lnTo>
                      <a:pt x="462" y="0"/>
                    </a:lnTo>
                    <a:close/>
                  </a:path>
                </a:pathLst>
              </a:custGeom>
              <a:solidFill>
                <a:schemeClr val="bg1">
                  <a:lumMod val="85000"/>
                </a:schemeClr>
              </a:solidFill>
              <a:ln>
                <a:noFill/>
              </a:ln>
            </p:spPr>
            <p:txBody>
              <a:bodyPr wrap="square" lIns="91440" tIns="45720" rIns="91440" bIns="45720" anchor="ctr" anchorCtr="1">
                <a:normAutofit/>
              </a:bodyPr>
              <a:lstStyle/>
              <a:p>
                <a:pPr algn="ctr"/>
                <a:endParaRPr dirty="0"/>
              </a:p>
            </p:txBody>
          </p:sp>
          <p:sp>
            <p:nvSpPr>
              <p:cNvPr id="23" name="îślïḋè"/>
              <p:cNvSpPr/>
              <p:nvPr/>
            </p:nvSpPr>
            <p:spPr bwMode="auto">
              <a:xfrm>
                <a:off x="5209338" y="4301436"/>
                <a:ext cx="2974975" cy="720725"/>
              </a:xfrm>
              <a:custGeom>
                <a:avLst/>
                <a:gdLst>
                  <a:gd name="T0" fmla="*/ 1874 w 1874"/>
                  <a:gd name="T1" fmla="*/ 454 h 454"/>
                  <a:gd name="T2" fmla="*/ 1874 w 1874"/>
                  <a:gd name="T3" fmla="*/ 229 h 454"/>
                  <a:gd name="T4" fmla="*/ 1874 w 1874"/>
                  <a:gd name="T5" fmla="*/ 0 h 454"/>
                  <a:gd name="T6" fmla="*/ 1222 w 1874"/>
                  <a:gd name="T7" fmla="*/ 0 h 454"/>
                  <a:gd name="T8" fmla="*/ 1222 w 1874"/>
                  <a:gd name="T9" fmla="*/ 0 h 454"/>
                  <a:gd name="T10" fmla="*/ 444 w 1874"/>
                  <a:gd name="T11" fmla="*/ 0 h 454"/>
                  <a:gd name="T12" fmla="*/ 0 w 1874"/>
                  <a:gd name="T13" fmla="*/ 454 h 454"/>
                  <a:gd name="T14" fmla="*/ 1874 w 1874"/>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4" h="454">
                    <a:moveTo>
                      <a:pt x="1874" y="454"/>
                    </a:moveTo>
                    <a:lnTo>
                      <a:pt x="1874" y="229"/>
                    </a:lnTo>
                    <a:lnTo>
                      <a:pt x="1874" y="0"/>
                    </a:lnTo>
                    <a:lnTo>
                      <a:pt x="1222" y="0"/>
                    </a:lnTo>
                    <a:lnTo>
                      <a:pt x="1222" y="0"/>
                    </a:lnTo>
                    <a:lnTo>
                      <a:pt x="444" y="0"/>
                    </a:lnTo>
                    <a:lnTo>
                      <a:pt x="0" y="454"/>
                    </a:lnTo>
                    <a:lnTo>
                      <a:pt x="1874" y="454"/>
                    </a:lnTo>
                    <a:close/>
                  </a:path>
                </a:pathLst>
              </a:custGeom>
              <a:solidFill>
                <a:schemeClr val="bg1">
                  <a:lumMod val="85000"/>
                </a:schemeClr>
              </a:solidFill>
              <a:ln>
                <a:noFill/>
              </a:ln>
            </p:spPr>
            <p:txBody>
              <a:bodyPr vert="horz" wrap="square" lIns="91440" tIns="45720" rIns="91440" bIns="45720" numCol="1" anchor="ctr" anchorCtr="0" compatLnSpc="1">
                <a:normAutofit/>
              </a:bodyPr>
              <a:lstStyle/>
              <a:p>
                <a:pPr algn="r"/>
                <a:endParaRPr lang="zh-CN" altLang="en-US" b="1" dirty="0"/>
              </a:p>
            </p:txBody>
          </p:sp>
          <p:sp>
            <p:nvSpPr>
              <p:cNvPr id="24" name="išlïďê"/>
              <p:cNvSpPr/>
              <p:nvPr/>
            </p:nvSpPr>
            <p:spPr bwMode="auto">
              <a:xfrm>
                <a:off x="4007690" y="3606002"/>
                <a:ext cx="3185274" cy="720724"/>
              </a:xfrm>
              <a:custGeom>
                <a:avLst/>
                <a:gdLst>
                  <a:gd name="T0" fmla="*/ 2085 w 2085"/>
                  <a:gd name="T1" fmla="*/ 454 h 454"/>
                  <a:gd name="T2" fmla="*/ 1641 w 2085"/>
                  <a:gd name="T3" fmla="*/ 0 h 454"/>
                  <a:gd name="T4" fmla="*/ 0 w 2085"/>
                  <a:gd name="T5" fmla="*/ 0 h 454"/>
                  <a:gd name="T6" fmla="*/ 0 w 2085"/>
                  <a:gd name="T7" fmla="*/ 227 h 454"/>
                  <a:gd name="T8" fmla="*/ 0 w 2085"/>
                  <a:gd name="T9" fmla="*/ 454 h 454"/>
                  <a:gd name="T10" fmla="*/ 2085 w 2085"/>
                  <a:gd name="T11" fmla="*/ 454 h 454"/>
                </a:gdLst>
                <a:ahLst/>
                <a:cxnLst>
                  <a:cxn ang="0">
                    <a:pos x="T0" y="T1"/>
                  </a:cxn>
                  <a:cxn ang="0">
                    <a:pos x="T2" y="T3"/>
                  </a:cxn>
                  <a:cxn ang="0">
                    <a:pos x="T4" y="T5"/>
                  </a:cxn>
                  <a:cxn ang="0">
                    <a:pos x="T6" y="T7"/>
                  </a:cxn>
                  <a:cxn ang="0">
                    <a:pos x="T8" y="T9"/>
                  </a:cxn>
                  <a:cxn ang="0">
                    <a:pos x="T10" y="T11"/>
                  </a:cxn>
                </a:cxnLst>
                <a:rect l="0" t="0" r="r" b="b"/>
                <a:pathLst>
                  <a:path w="2085" h="454">
                    <a:moveTo>
                      <a:pt x="2085" y="454"/>
                    </a:moveTo>
                    <a:lnTo>
                      <a:pt x="1641" y="0"/>
                    </a:lnTo>
                    <a:lnTo>
                      <a:pt x="0" y="0"/>
                    </a:lnTo>
                    <a:lnTo>
                      <a:pt x="0" y="227"/>
                    </a:lnTo>
                    <a:lnTo>
                      <a:pt x="0" y="454"/>
                    </a:lnTo>
                    <a:lnTo>
                      <a:pt x="2085" y="454"/>
                    </a:lnTo>
                    <a:close/>
                  </a:path>
                </a:pathLst>
              </a:custGeom>
              <a:solidFill>
                <a:srgbClr val="BC36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normAutofit/>
              </a:bodyPr>
              <a:lstStyle/>
              <a:p>
                <a:endParaRPr lang="zh-CN" altLang="en-US" b="1" dirty="0">
                  <a:solidFill>
                    <a:schemeClr val="bg1"/>
                  </a:solidFill>
                </a:endParaRPr>
              </a:p>
            </p:txBody>
          </p:sp>
          <p:sp>
            <p:nvSpPr>
              <p:cNvPr id="25" name="îsḻiḋé"/>
              <p:cNvSpPr/>
              <p:nvPr/>
            </p:nvSpPr>
            <p:spPr bwMode="auto">
              <a:xfrm rot="5400000">
                <a:off x="2965032" y="3619574"/>
                <a:ext cx="1353807" cy="731509"/>
              </a:xfrm>
              <a:custGeom>
                <a:avLst/>
                <a:gdLst>
                  <a:gd name="T0" fmla="*/ 916 w 916"/>
                  <a:gd name="T1" fmla="*/ 0 h 396"/>
                  <a:gd name="T2" fmla="*/ 689 w 916"/>
                  <a:gd name="T3" fmla="*/ 0 h 396"/>
                  <a:gd name="T4" fmla="*/ 458 w 916"/>
                  <a:gd name="T5" fmla="*/ 0 h 396"/>
                  <a:gd name="T6" fmla="*/ 227 w 916"/>
                  <a:gd name="T7" fmla="*/ 0 h 396"/>
                  <a:gd name="T8" fmla="*/ 0 w 916"/>
                  <a:gd name="T9" fmla="*/ 0 h 396"/>
                  <a:gd name="T10" fmla="*/ 458 w 916"/>
                  <a:gd name="T11" fmla="*/ 396 h 396"/>
                  <a:gd name="T12" fmla="*/ 916 w 916"/>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916" h="396">
                    <a:moveTo>
                      <a:pt x="916" y="0"/>
                    </a:moveTo>
                    <a:lnTo>
                      <a:pt x="689" y="0"/>
                    </a:lnTo>
                    <a:lnTo>
                      <a:pt x="458" y="0"/>
                    </a:lnTo>
                    <a:lnTo>
                      <a:pt x="227" y="0"/>
                    </a:lnTo>
                    <a:lnTo>
                      <a:pt x="0" y="0"/>
                    </a:lnTo>
                    <a:lnTo>
                      <a:pt x="458" y="396"/>
                    </a:lnTo>
                    <a:lnTo>
                      <a:pt x="916"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chorCtr="1">
                <a:normAutofit/>
              </a:bodyPr>
              <a:lstStyle/>
              <a:p>
                <a:pPr algn="ctr"/>
                <a:endParaRPr dirty="0"/>
              </a:p>
            </p:txBody>
          </p:sp>
        </p:grpSp>
        <p:sp>
          <p:nvSpPr>
            <p:cNvPr id="7" name="ïSḷiḓe"/>
            <p:cNvSpPr txBox="1"/>
            <p:nvPr/>
          </p:nvSpPr>
          <p:spPr>
            <a:xfrm>
              <a:off x="673099" y="1130300"/>
              <a:ext cx="10845800" cy="581926"/>
            </a:xfrm>
            <a:prstGeom prst="rect">
              <a:avLst/>
            </a:prstGeom>
            <a:noFill/>
            <a:ln>
              <a:noFill/>
            </a:ln>
          </p:spPr>
          <p:txBody>
            <a:bodyPr wrap="none" lIns="90000" tIns="46800" rIns="90000" bIns="46800" anchor="ctr" anchorCtr="0">
              <a:normAutofit/>
            </a:bodyPr>
            <a:lstStyle/>
            <a:p>
              <a:pPr algn="ctr">
                <a:buSzPct val="25000"/>
              </a:pPr>
              <a:r>
                <a:rPr lang="en-US" sz="2400" dirty="0"/>
                <a:t>Two</a:t>
              </a:r>
              <a:r>
                <a:rPr lang="zh-CN" altLang="en-US" sz="2400" dirty="0"/>
                <a:t> </a:t>
              </a:r>
              <a:r>
                <a:rPr lang="en-US" altLang="zh-CN" sz="2400" dirty="0"/>
                <a:t>parts</a:t>
              </a:r>
              <a:r>
                <a:rPr lang="zh-CN" altLang="en-US" sz="2400" dirty="0"/>
                <a:t> </a:t>
              </a:r>
              <a:r>
                <a:rPr lang="en-US" altLang="zh-CN" sz="2400" dirty="0"/>
                <a:t>of</a:t>
              </a:r>
              <a:r>
                <a:rPr lang="zh-CN" altLang="en-US" sz="2400" dirty="0"/>
                <a:t> </a:t>
              </a:r>
              <a:r>
                <a:rPr lang="en-US" altLang="zh-CN" sz="2400" dirty="0"/>
                <a:t>t</a:t>
              </a:r>
              <a:r>
                <a:rPr lang="en-US" sz="2400" dirty="0"/>
                <a:t>he</a:t>
              </a:r>
              <a:r>
                <a:rPr lang="zh-CN" altLang="en-US" sz="2400" dirty="0"/>
                <a:t> </a:t>
              </a:r>
              <a:r>
                <a:rPr lang="en-US" altLang="zh-CN" sz="2400" dirty="0"/>
                <a:t>M5</a:t>
              </a:r>
              <a:r>
                <a:rPr lang="zh-CN" altLang="en-US" sz="2400" dirty="0"/>
                <a:t> </a:t>
              </a:r>
              <a:r>
                <a:rPr lang="en-US" altLang="zh-CN" sz="2400" dirty="0"/>
                <a:t>Forecasting</a:t>
              </a:r>
              <a:endParaRPr lang="en-US" sz="2400" dirty="0"/>
            </a:p>
          </p:txBody>
        </p:sp>
        <p:grpSp>
          <p:nvGrpSpPr>
            <p:cNvPr id="8" name="íśľiḋè"/>
            <p:cNvGrpSpPr/>
            <p:nvPr/>
          </p:nvGrpSpPr>
          <p:grpSpPr>
            <a:xfrm>
              <a:off x="673100" y="2344050"/>
              <a:ext cx="3127900" cy="1286014"/>
              <a:chOff x="8661000" y="1781570"/>
              <a:chExt cx="2295000" cy="1286014"/>
            </a:xfrm>
          </p:grpSpPr>
          <p:sp>
            <p:nvSpPr>
              <p:cNvPr id="20" name="íṥļîḓé"/>
              <p:cNvSpPr txBox="1"/>
              <p:nvPr/>
            </p:nvSpPr>
            <p:spPr>
              <a:xfrm>
                <a:off x="8661000" y="1781570"/>
                <a:ext cx="2295000" cy="392512"/>
              </a:xfrm>
              <a:prstGeom prst="rect">
                <a:avLst/>
              </a:prstGeom>
              <a:noFill/>
              <a:ln>
                <a:noFill/>
              </a:ln>
            </p:spPr>
            <p:txBody>
              <a:bodyPr wrap="none" lIns="91440" tIns="45720" rIns="91440" bIns="45720" anchor="t" anchorCtr="0">
                <a:normAutofit lnSpcReduction="10000"/>
              </a:bodyPr>
              <a:lstStyle/>
              <a:p>
                <a:pPr>
                  <a:buSzPct val="25000"/>
                </a:pPr>
                <a:r>
                  <a:rPr lang="de-DE" sz="2000" b="1" dirty="0" err="1"/>
                  <a:t>Accuracy</a:t>
                </a:r>
                <a:endParaRPr lang="de-DE" sz="2000" b="1" dirty="0"/>
              </a:p>
            </p:txBody>
          </p:sp>
          <p:sp>
            <p:nvSpPr>
              <p:cNvPr id="21" name="í$lidé"/>
              <p:cNvSpPr txBox="1"/>
              <p:nvPr/>
            </p:nvSpPr>
            <p:spPr>
              <a:xfrm>
                <a:off x="8661000" y="2174081"/>
                <a:ext cx="2062396" cy="893503"/>
              </a:xfrm>
              <a:prstGeom prst="rect">
                <a:avLst/>
              </a:prstGeom>
              <a:noFill/>
              <a:ln>
                <a:noFill/>
              </a:ln>
            </p:spPr>
            <p:txBody>
              <a:bodyPr lIns="91440" tIns="45720" rIns="91440" bIns="45720" anchor="t" anchorCtr="0">
                <a:normAutofit/>
              </a:bodyPr>
              <a:lstStyle/>
              <a:p>
                <a:pPr>
                  <a:lnSpc>
                    <a:spcPct val="150000"/>
                  </a:lnSpc>
                  <a:buSzPct val="25000"/>
                </a:pPr>
                <a:r>
                  <a:rPr lang="de-DE" sz="1600" dirty="0" err="1"/>
                  <a:t>To</a:t>
                </a:r>
                <a:r>
                  <a:rPr lang="zh-CN" altLang="en-US" sz="1600" dirty="0"/>
                  <a:t> </a:t>
                </a:r>
                <a:r>
                  <a:rPr lang="en-US" altLang="zh-CN" sz="1600" dirty="0"/>
                  <a:t>predict</a:t>
                </a:r>
                <a:r>
                  <a:rPr lang="zh-CN" altLang="en-US" sz="1600" dirty="0"/>
                  <a:t> </a:t>
                </a:r>
                <a:r>
                  <a:rPr lang="en-US" altLang="zh-CN" sz="1600" dirty="0"/>
                  <a:t>each</a:t>
                </a:r>
                <a:r>
                  <a:rPr lang="zh-CN" altLang="en-US" sz="1600" dirty="0"/>
                  <a:t> </a:t>
                </a:r>
                <a:r>
                  <a:rPr lang="en-US" altLang="zh-CN" sz="1600" dirty="0"/>
                  <a:t>item respectively.</a:t>
                </a:r>
                <a:endParaRPr lang="de-DE" sz="1600" dirty="0"/>
              </a:p>
            </p:txBody>
          </p:sp>
        </p:grpSp>
        <p:sp>
          <p:nvSpPr>
            <p:cNvPr id="9" name="ïşļîdé"/>
            <p:cNvSpPr txBox="1"/>
            <p:nvPr/>
          </p:nvSpPr>
          <p:spPr>
            <a:xfrm>
              <a:off x="673100" y="4129222"/>
              <a:ext cx="3127900" cy="624918"/>
            </a:xfrm>
            <a:prstGeom prst="rect">
              <a:avLst/>
            </a:prstGeom>
            <a:noFill/>
            <a:ln>
              <a:noFill/>
            </a:ln>
          </p:spPr>
          <p:txBody>
            <a:bodyPr lIns="91440" tIns="45720" rIns="91440" bIns="45720" anchor="t" anchorCtr="0">
              <a:normAutofit/>
            </a:bodyPr>
            <a:lstStyle/>
            <a:p>
              <a:pPr>
                <a:lnSpc>
                  <a:spcPct val="150000"/>
                </a:lnSpc>
                <a:buSzPct val="25000"/>
              </a:pPr>
              <a:r>
                <a:rPr lang="en-US" sz="1600" dirty="0"/>
                <a:t>Point estimation.</a:t>
              </a:r>
              <a:endParaRPr lang="de-DE" sz="1600" dirty="0"/>
            </a:p>
          </p:txBody>
        </p:sp>
        <p:sp>
          <p:nvSpPr>
            <p:cNvPr id="10" name="íṧḷidé"/>
            <p:cNvSpPr txBox="1"/>
            <p:nvPr/>
          </p:nvSpPr>
          <p:spPr>
            <a:xfrm>
              <a:off x="8392587" y="4929089"/>
              <a:ext cx="3127900" cy="624918"/>
            </a:xfrm>
            <a:prstGeom prst="rect">
              <a:avLst/>
            </a:prstGeom>
            <a:noFill/>
            <a:ln>
              <a:noFill/>
            </a:ln>
          </p:spPr>
          <p:txBody>
            <a:bodyPr lIns="91440" tIns="45720" rIns="91440" bIns="45720" anchor="t" anchorCtr="0">
              <a:noAutofit/>
            </a:bodyPr>
            <a:lstStyle/>
            <a:p>
              <a:pPr algn="r">
                <a:lnSpc>
                  <a:spcPct val="150000"/>
                </a:lnSpc>
                <a:buSzPct val="25000"/>
              </a:pPr>
              <a:r>
                <a:rPr lang="en-US" sz="1600" dirty="0"/>
                <a:t>Need to predict next </a:t>
              </a:r>
            </a:p>
            <a:p>
              <a:pPr algn="r">
                <a:lnSpc>
                  <a:spcPct val="150000"/>
                </a:lnSpc>
                <a:buSzPct val="25000"/>
              </a:pPr>
              <a:r>
                <a:rPr lang="en-US" sz="1600" dirty="0"/>
                <a:t>28 days’ sales.</a:t>
              </a:r>
              <a:endParaRPr lang="de-DE" sz="1600" dirty="0"/>
            </a:p>
          </p:txBody>
        </p:sp>
        <p:cxnSp>
          <p:nvCxnSpPr>
            <p:cNvPr id="11" name="直接连接符 10"/>
            <p:cNvCxnSpPr/>
            <p:nvPr/>
          </p:nvCxnSpPr>
          <p:spPr>
            <a:xfrm>
              <a:off x="651000" y="3863486"/>
              <a:ext cx="3155735" cy="0"/>
            </a:xfrm>
            <a:prstGeom prst="line">
              <a:avLst/>
            </a:prstGeom>
            <a:ln w="3175" cap="rnd">
              <a:solidFill>
                <a:schemeClr val="tx2">
                  <a:lumMod val="40000"/>
                  <a:lumOff val="6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645265" y="4774574"/>
              <a:ext cx="3155735" cy="0"/>
            </a:xfrm>
            <a:prstGeom prst="line">
              <a:avLst/>
            </a:prstGeom>
            <a:ln w="3175" cap="rnd">
              <a:solidFill>
                <a:schemeClr val="tx2">
                  <a:lumMod val="40000"/>
                  <a:lumOff val="6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3" name="ïŝḻíḍé"/>
            <p:cNvGrpSpPr/>
            <p:nvPr/>
          </p:nvGrpSpPr>
          <p:grpSpPr>
            <a:xfrm>
              <a:off x="8385267" y="2344050"/>
              <a:ext cx="3127900" cy="1286016"/>
              <a:chOff x="8661000" y="1781570"/>
              <a:chExt cx="2295000" cy="1286016"/>
            </a:xfrm>
          </p:grpSpPr>
          <p:sp>
            <p:nvSpPr>
              <p:cNvPr id="18" name="iṩļïḋê"/>
              <p:cNvSpPr txBox="1"/>
              <p:nvPr/>
            </p:nvSpPr>
            <p:spPr>
              <a:xfrm>
                <a:off x="8661000" y="1781570"/>
                <a:ext cx="2295000" cy="392512"/>
              </a:xfrm>
              <a:prstGeom prst="rect">
                <a:avLst/>
              </a:prstGeom>
              <a:noFill/>
              <a:ln>
                <a:noFill/>
              </a:ln>
            </p:spPr>
            <p:txBody>
              <a:bodyPr wrap="none" lIns="91440" tIns="45720" rIns="91440" bIns="45720" anchor="t" anchorCtr="0">
                <a:normAutofit lnSpcReduction="10000"/>
              </a:bodyPr>
              <a:lstStyle/>
              <a:p>
                <a:pPr algn="r">
                  <a:buSzPct val="25000"/>
                </a:pPr>
                <a:r>
                  <a:rPr lang="de-DE" sz="2000" b="1" dirty="0" err="1"/>
                  <a:t>Uncertainty</a:t>
                </a:r>
                <a:endParaRPr lang="de-DE" sz="2000" b="1" dirty="0"/>
              </a:p>
            </p:txBody>
          </p:sp>
          <p:sp>
            <p:nvSpPr>
              <p:cNvPr id="19" name="ïṥļiḍé"/>
              <p:cNvSpPr txBox="1"/>
              <p:nvPr/>
            </p:nvSpPr>
            <p:spPr>
              <a:xfrm>
                <a:off x="8661000" y="2174081"/>
                <a:ext cx="2295000" cy="893505"/>
              </a:xfrm>
              <a:prstGeom prst="rect">
                <a:avLst/>
              </a:prstGeom>
              <a:noFill/>
              <a:ln>
                <a:noFill/>
              </a:ln>
            </p:spPr>
            <p:txBody>
              <a:bodyPr lIns="91440" tIns="45720" rIns="91440" bIns="45720" anchor="t" anchorCtr="0">
                <a:noAutofit/>
              </a:bodyPr>
              <a:lstStyle/>
              <a:p>
                <a:pPr algn="r">
                  <a:lnSpc>
                    <a:spcPct val="150000"/>
                  </a:lnSpc>
                  <a:buSzPct val="25000"/>
                </a:pPr>
                <a:r>
                  <a:rPr lang="de-DE" sz="1600" dirty="0" err="1"/>
                  <a:t>To</a:t>
                </a:r>
                <a:r>
                  <a:rPr lang="de-DE" sz="1600" dirty="0"/>
                  <a:t> </a:t>
                </a:r>
                <a:r>
                  <a:rPr lang="de-DE" sz="1600" dirty="0" err="1"/>
                  <a:t>predict</a:t>
                </a:r>
                <a:r>
                  <a:rPr lang="de-DE" sz="1600" dirty="0"/>
                  <a:t> </a:t>
                </a:r>
                <a:r>
                  <a:rPr lang="de-DE" sz="1600" dirty="0" err="1"/>
                  <a:t>sales</a:t>
                </a:r>
                <a:r>
                  <a:rPr lang="de-DE" sz="1600" dirty="0"/>
                  <a:t> </a:t>
                </a:r>
                <a:r>
                  <a:rPr lang="de-DE" sz="1600" dirty="0" err="1"/>
                  <a:t>with</a:t>
                </a:r>
                <a:r>
                  <a:rPr lang="de-DE" sz="1600" dirty="0"/>
                  <a:t> </a:t>
                </a:r>
                <a:r>
                  <a:rPr lang="de-DE" sz="1600" dirty="0" err="1"/>
                  <a:t>Hierarchical</a:t>
                </a:r>
                <a:r>
                  <a:rPr lang="de-DE" sz="1600" dirty="0"/>
                  <a:t> </a:t>
                </a:r>
                <a:r>
                  <a:rPr lang="de-DE" sz="1600" dirty="0" err="1"/>
                  <a:t>features</a:t>
                </a:r>
                <a:r>
                  <a:rPr lang="de-DE" sz="1600" dirty="0"/>
                  <a:t>.</a:t>
                </a:r>
              </a:p>
            </p:txBody>
          </p:sp>
        </p:grpSp>
        <p:sp>
          <p:nvSpPr>
            <p:cNvPr id="14" name="ïṥ1îḍé"/>
            <p:cNvSpPr txBox="1"/>
            <p:nvPr/>
          </p:nvSpPr>
          <p:spPr>
            <a:xfrm>
              <a:off x="8385267" y="4129222"/>
              <a:ext cx="3127900" cy="624918"/>
            </a:xfrm>
            <a:prstGeom prst="rect">
              <a:avLst/>
            </a:prstGeom>
            <a:noFill/>
            <a:ln>
              <a:noFill/>
            </a:ln>
          </p:spPr>
          <p:txBody>
            <a:bodyPr lIns="91440" tIns="45720" rIns="91440" bIns="45720" anchor="t" anchorCtr="0">
              <a:normAutofit/>
            </a:bodyPr>
            <a:lstStyle/>
            <a:p>
              <a:pPr algn="r">
                <a:lnSpc>
                  <a:spcPct val="150000"/>
                </a:lnSpc>
                <a:buSzPct val="25000"/>
              </a:pPr>
              <a:r>
                <a:rPr lang="de-DE" sz="1600" dirty="0" err="1"/>
                <a:t>Quantile</a:t>
              </a:r>
              <a:r>
                <a:rPr lang="de-DE" sz="1600" dirty="0"/>
                <a:t> </a:t>
              </a:r>
              <a:r>
                <a:rPr lang="de-DE" sz="1600" dirty="0" err="1"/>
                <a:t>estimation</a:t>
              </a:r>
              <a:r>
                <a:rPr lang="de-DE" sz="1600" dirty="0"/>
                <a:t>.</a:t>
              </a:r>
            </a:p>
          </p:txBody>
        </p:sp>
        <p:sp>
          <p:nvSpPr>
            <p:cNvPr id="15" name="íṡ1idè"/>
            <p:cNvSpPr txBox="1"/>
            <p:nvPr/>
          </p:nvSpPr>
          <p:spPr>
            <a:xfrm>
              <a:off x="678835" y="4926249"/>
              <a:ext cx="3127900" cy="624918"/>
            </a:xfrm>
            <a:prstGeom prst="rect">
              <a:avLst/>
            </a:prstGeom>
            <a:noFill/>
            <a:ln>
              <a:noFill/>
            </a:ln>
          </p:spPr>
          <p:txBody>
            <a:bodyPr lIns="91440" tIns="45720" rIns="91440" bIns="45720" anchor="t" anchorCtr="0">
              <a:noAutofit/>
            </a:bodyPr>
            <a:lstStyle/>
            <a:p>
              <a:pPr>
                <a:lnSpc>
                  <a:spcPct val="150000"/>
                </a:lnSpc>
                <a:buSzPct val="25000"/>
              </a:pPr>
              <a:r>
                <a:rPr lang="en-US" altLang="zh-CN" sz="1600" dirty="0"/>
                <a:t>Have sales data from</a:t>
              </a:r>
            </a:p>
            <a:p>
              <a:pPr>
                <a:lnSpc>
                  <a:spcPct val="150000"/>
                </a:lnSpc>
                <a:buSzPct val="25000"/>
              </a:pPr>
              <a:r>
                <a:rPr lang="en-US" altLang="zh-CN" sz="1600" dirty="0"/>
                <a:t>2011-01-29 to 2016-05-22</a:t>
              </a:r>
            </a:p>
            <a:p>
              <a:pPr algn="r">
                <a:lnSpc>
                  <a:spcPct val="150000"/>
                </a:lnSpc>
                <a:buSzPct val="25000"/>
              </a:pPr>
              <a:r>
                <a:rPr lang="en-US" altLang="zh-CN" sz="1600" dirty="0"/>
                <a:t> </a:t>
              </a:r>
              <a:endParaRPr lang="de-DE" altLang="zh-CN" sz="1600" dirty="0"/>
            </a:p>
          </p:txBody>
        </p:sp>
        <p:cxnSp>
          <p:nvCxnSpPr>
            <p:cNvPr id="16" name="直接连接符 15"/>
            <p:cNvCxnSpPr/>
            <p:nvPr/>
          </p:nvCxnSpPr>
          <p:spPr>
            <a:xfrm>
              <a:off x="8363167" y="3863486"/>
              <a:ext cx="3155735" cy="0"/>
            </a:xfrm>
            <a:prstGeom prst="line">
              <a:avLst/>
            </a:prstGeom>
            <a:ln w="3175" cap="rnd">
              <a:solidFill>
                <a:schemeClr val="tx2">
                  <a:lumMod val="40000"/>
                  <a:lumOff val="6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8364752" y="4806583"/>
              <a:ext cx="3155735" cy="0"/>
            </a:xfrm>
            <a:prstGeom prst="line">
              <a:avLst/>
            </a:prstGeom>
            <a:ln w="3175" cap="rnd">
              <a:solidFill>
                <a:schemeClr val="tx2">
                  <a:lumMod val="40000"/>
                  <a:lumOff val="6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ataset Description</a:t>
            </a:r>
            <a:endParaRPr lang="zh-CN" altLang="en-US" dirty="0"/>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30" name="图片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585" y="3837016"/>
            <a:ext cx="3974348" cy="2523041"/>
          </a:xfrm>
          <a:prstGeom prst="rect">
            <a:avLst/>
          </a:prstGeom>
          <a:ln>
            <a:noFill/>
          </a:ln>
          <a:effectLst>
            <a:outerShdw blurRad="190500" algn="tl" rotWithShape="0">
              <a:srgbClr val="000000">
                <a:alpha val="70000"/>
              </a:srgbClr>
            </a:outerShdw>
          </a:effectLst>
        </p:spPr>
      </p:pic>
      <p:pic>
        <p:nvPicPr>
          <p:cNvPr id="32" name="图片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561" y="1099042"/>
            <a:ext cx="4864339" cy="2685041"/>
          </a:xfrm>
          <a:prstGeom prst="rect">
            <a:avLst/>
          </a:prstGeom>
          <a:ln>
            <a:noFill/>
          </a:ln>
          <a:effectLst>
            <a:outerShdw blurRad="190500" algn="tl" rotWithShape="0">
              <a:srgbClr val="000000">
                <a:alpha val="70000"/>
              </a:srgbClr>
            </a:outerShdw>
          </a:effectLst>
        </p:spPr>
      </p:pic>
      <p:pic>
        <p:nvPicPr>
          <p:cNvPr id="34" name="图片 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3731" y="4117694"/>
            <a:ext cx="5198269" cy="2471630"/>
          </a:xfrm>
          <a:prstGeom prst="rect">
            <a:avLst/>
          </a:prstGeom>
          <a:ln>
            <a:noFill/>
          </a:ln>
          <a:effectLst>
            <a:outerShdw blurRad="190500" algn="tl" rotWithShape="0">
              <a:srgbClr val="000000">
                <a:alpha val="70000"/>
              </a:srgbClr>
            </a:outerShdw>
          </a:effectLst>
        </p:spPr>
      </p:pic>
      <p:sp>
        <p:nvSpPr>
          <p:cNvPr id="35" name="文本框 34"/>
          <p:cNvSpPr txBox="1"/>
          <p:nvPr/>
        </p:nvSpPr>
        <p:spPr>
          <a:xfrm>
            <a:off x="658050" y="1726542"/>
            <a:ext cx="3571955" cy="1477328"/>
          </a:xfrm>
          <a:prstGeom prst="rect">
            <a:avLst/>
          </a:prstGeom>
          <a:noFill/>
        </p:spPr>
        <p:txBody>
          <a:bodyPr wrap="square" rtlCol="0">
            <a:spAutoFit/>
          </a:bodyPr>
          <a:lstStyle/>
          <a:p>
            <a:r>
              <a:rPr kumimoji="1" lang="en-US" altLang="zh-CN" dirty="0"/>
              <a:t>·</a:t>
            </a:r>
            <a:r>
              <a:rPr kumimoji="1" lang="zh-CN" altLang="en-US" dirty="0"/>
              <a:t> </a:t>
            </a:r>
            <a:r>
              <a:rPr kumimoji="1" lang="en-US" altLang="zh-CN" dirty="0"/>
              <a:t>States</a:t>
            </a:r>
          </a:p>
          <a:p>
            <a:r>
              <a:rPr kumimoji="1" lang="en-US" altLang="zh-CN" dirty="0"/>
              <a:t>·</a:t>
            </a:r>
            <a:r>
              <a:rPr kumimoji="1" lang="zh-CN" altLang="en-US" dirty="0"/>
              <a:t> </a:t>
            </a:r>
            <a:r>
              <a:rPr kumimoji="1" lang="en-US" altLang="zh-CN" dirty="0"/>
              <a:t>Department</a:t>
            </a:r>
          </a:p>
          <a:p>
            <a:r>
              <a:rPr kumimoji="1" lang="en-US" altLang="zh-CN" dirty="0"/>
              <a:t>·</a:t>
            </a:r>
            <a:r>
              <a:rPr kumimoji="1" lang="zh-CN" altLang="en-US" dirty="0"/>
              <a:t> </a:t>
            </a:r>
            <a:r>
              <a:rPr kumimoji="1" lang="en-US" altLang="zh-CN" dirty="0"/>
              <a:t>Category</a:t>
            </a:r>
          </a:p>
          <a:p>
            <a:r>
              <a:rPr kumimoji="1" lang="en-US" altLang="zh-CN" dirty="0"/>
              <a:t>·</a:t>
            </a:r>
            <a:r>
              <a:rPr kumimoji="1" lang="zh-CN" altLang="en-US" dirty="0"/>
              <a:t> </a:t>
            </a:r>
            <a:r>
              <a:rPr kumimoji="1" lang="en-US" altLang="zh-CN" dirty="0"/>
              <a:t>Items</a:t>
            </a:r>
          </a:p>
          <a:p>
            <a:r>
              <a:rPr kumimoji="1" lang="en-US" altLang="zh-CN" dirty="0"/>
              <a:t>·</a:t>
            </a:r>
            <a:r>
              <a:rPr kumimoji="1" lang="zh-CN" altLang="en-US" dirty="0"/>
              <a:t> </a:t>
            </a:r>
            <a:r>
              <a:rPr kumimoji="1" lang="en-US" altLang="zh-CN" dirty="0"/>
              <a:t>Sales</a:t>
            </a:r>
            <a:r>
              <a:rPr kumimoji="1" lang="zh-CN" altLang="en-US" dirty="0"/>
              <a:t> </a:t>
            </a:r>
            <a:r>
              <a:rPr kumimoji="1" lang="en-US" altLang="zh-CN" dirty="0"/>
              <a:t>from day_1 to d_1941</a:t>
            </a:r>
            <a:endParaRPr kumimoji="1" lang="zh-CN" altLang="en-US" dirty="0"/>
          </a:p>
        </p:txBody>
      </p:sp>
      <p:cxnSp>
        <p:nvCxnSpPr>
          <p:cNvPr id="37" name="直线箭头连接符 36"/>
          <p:cNvCxnSpPr/>
          <p:nvPr/>
        </p:nvCxnSpPr>
        <p:spPr>
          <a:xfrm flipV="1">
            <a:off x="1125792" y="3249583"/>
            <a:ext cx="0" cy="7162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直线箭头连接符 40"/>
          <p:cNvCxnSpPr>
            <a:cxnSpLocks/>
          </p:cNvCxnSpPr>
          <p:nvPr/>
        </p:nvCxnSpPr>
        <p:spPr>
          <a:xfrm flipH="1">
            <a:off x="6389225" y="1469983"/>
            <a:ext cx="792124" cy="3626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4854868" y="1308730"/>
            <a:ext cx="1756360" cy="1200329"/>
          </a:xfrm>
          <a:prstGeom prst="rect">
            <a:avLst/>
          </a:prstGeom>
          <a:noFill/>
        </p:spPr>
        <p:txBody>
          <a:bodyPr wrap="square" rtlCol="0">
            <a:spAutoFit/>
          </a:bodyPr>
          <a:lstStyle/>
          <a:p>
            <a:r>
              <a:rPr kumimoji="1" lang="en-US" altLang="zh-CN" dirty="0"/>
              <a:t>·</a:t>
            </a:r>
            <a:r>
              <a:rPr kumimoji="1" lang="zh-CN" altLang="en-US" dirty="0"/>
              <a:t> </a:t>
            </a:r>
            <a:r>
              <a:rPr kumimoji="1" lang="en-US" altLang="zh-CN" dirty="0" err="1"/>
              <a:t>wm_yr_wk</a:t>
            </a:r>
            <a:endParaRPr kumimoji="1" lang="en-US" altLang="zh-CN" dirty="0"/>
          </a:p>
          <a:p>
            <a:r>
              <a:rPr kumimoji="1" lang="en-US" altLang="zh-CN" dirty="0"/>
              <a:t>·</a:t>
            </a:r>
            <a:r>
              <a:rPr kumimoji="1" lang="zh-CN" altLang="en-US" dirty="0"/>
              <a:t> </a:t>
            </a:r>
            <a:r>
              <a:rPr kumimoji="1" lang="en-US" altLang="zh-CN" dirty="0"/>
              <a:t>weekday</a:t>
            </a:r>
          </a:p>
          <a:p>
            <a:r>
              <a:rPr kumimoji="1" lang="en-US" altLang="zh-CN" dirty="0"/>
              <a:t>·</a:t>
            </a:r>
            <a:r>
              <a:rPr kumimoji="1" lang="zh-CN" altLang="en-US" dirty="0"/>
              <a:t> </a:t>
            </a:r>
            <a:r>
              <a:rPr kumimoji="1" lang="en-US" altLang="zh-CN" dirty="0" err="1"/>
              <a:t>snapday</a:t>
            </a:r>
            <a:endParaRPr kumimoji="1" lang="en-US" altLang="zh-CN" dirty="0"/>
          </a:p>
          <a:p>
            <a:r>
              <a:rPr kumimoji="1" lang="en-US" altLang="zh-CN" dirty="0"/>
              <a:t>·</a:t>
            </a:r>
            <a:r>
              <a:rPr kumimoji="1" lang="zh-CN" altLang="en-US" dirty="0"/>
              <a:t> </a:t>
            </a:r>
            <a:r>
              <a:rPr kumimoji="1" lang="en-US" altLang="zh-CN" dirty="0" err="1"/>
              <a:t>eventday</a:t>
            </a:r>
            <a:endParaRPr kumimoji="1" lang="zh-CN" altLang="en-US" dirty="0"/>
          </a:p>
        </p:txBody>
      </p:sp>
      <p:sp>
        <p:nvSpPr>
          <p:cNvPr id="45" name="文本框 44"/>
          <p:cNvSpPr txBox="1"/>
          <p:nvPr/>
        </p:nvSpPr>
        <p:spPr>
          <a:xfrm>
            <a:off x="5263034" y="4477577"/>
            <a:ext cx="1475357" cy="646331"/>
          </a:xfrm>
          <a:prstGeom prst="rect">
            <a:avLst/>
          </a:prstGeom>
          <a:noFill/>
        </p:spPr>
        <p:txBody>
          <a:bodyPr wrap="square" rtlCol="0">
            <a:spAutoFit/>
          </a:bodyPr>
          <a:lstStyle/>
          <a:p>
            <a:r>
              <a:rPr kumimoji="1" lang="en-US" altLang="zh-CN" dirty="0"/>
              <a:t>·</a:t>
            </a:r>
            <a:r>
              <a:rPr kumimoji="1" lang="zh-CN" altLang="en-US" dirty="0"/>
              <a:t> </a:t>
            </a:r>
            <a:r>
              <a:rPr kumimoji="1" lang="en-US" altLang="zh-CN" dirty="0" err="1"/>
              <a:t>wm_yr_wk</a:t>
            </a:r>
            <a:endParaRPr kumimoji="1" lang="en-US" altLang="zh-CN" dirty="0"/>
          </a:p>
          <a:p>
            <a:r>
              <a:rPr kumimoji="1" lang="en-US" altLang="zh-CN" dirty="0"/>
              <a:t>·</a:t>
            </a:r>
            <a:r>
              <a:rPr kumimoji="1" lang="zh-CN" altLang="en-US" dirty="0"/>
              <a:t> </a:t>
            </a:r>
            <a:r>
              <a:rPr kumimoji="1" lang="en-US" altLang="zh-CN" dirty="0"/>
              <a:t>prices</a:t>
            </a:r>
            <a:endParaRPr kumimoji="1" lang="zh-CN" altLang="en-US" dirty="0"/>
          </a:p>
        </p:txBody>
      </p:sp>
      <p:cxnSp>
        <p:nvCxnSpPr>
          <p:cNvPr id="38" name="直线箭头连接符 40">
            <a:extLst>
              <a:ext uri="{FF2B5EF4-FFF2-40B4-BE49-F238E27FC236}">
                <a16:creationId xmlns:a16="http://schemas.microsoft.com/office/drawing/2014/main" id="{5A5938FC-A7AD-4044-899E-6F9702543FCE}"/>
              </a:ext>
            </a:extLst>
          </p:cNvPr>
          <p:cNvCxnSpPr>
            <a:cxnSpLocks/>
          </p:cNvCxnSpPr>
          <p:nvPr/>
        </p:nvCxnSpPr>
        <p:spPr>
          <a:xfrm flipH="1">
            <a:off x="6635590" y="4500399"/>
            <a:ext cx="792124" cy="3626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ataset</a:t>
            </a:r>
            <a:r>
              <a:rPr lang="zh-CN" altLang="en-US" dirty="0"/>
              <a:t> </a:t>
            </a:r>
            <a:r>
              <a:rPr lang="en-US" altLang="zh-CN" dirty="0"/>
              <a:t>Visualization: Hierarchy</a:t>
            </a:r>
            <a:r>
              <a:rPr lang="zh-CN" altLang="en-US" dirty="0"/>
              <a:t> </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53" name="图片 5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370" y="1898248"/>
            <a:ext cx="5807326" cy="3302622"/>
          </a:xfrm>
          <a:prstGeom prst="rect">
            <a:avLst/>
          </a:prstGeom>
          <a:ln>
            <a:noFill/>
          </a:ln>
          <a:effectLst>
            <a:outerShdw blurRad="190500" algn="tl" rotWithShape="0">
              <a:srgbClr val="000000">
                <a:alpha val="70000"/>
              </a:srgbClr>
            </a:outerShdw>
          </a:effectLst>
        </p:spPr>
      </p:pic>
      <p:pic>
        <p:nvPicPr>
          <p:cNvPr id="55" name="图片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0399" y="309025"/>
            <a:ext cx="4892272" cy="64927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6" name="文本框 55"/>
          <p:cNvSpPr txBox="1"/>
          <p:nvPr/>
        </p:nvSpPr>
        <p:spPr>
          <a:xfrm>
            <a:off x="2081202" y="5451949"/>
            <a:ext cx="2988509" cy="923330"/>
          </a:xfrm>
          <a:prstGeom prst="rect">
            <a:avLst/>
          </a:prstGeom>
          <a:noFill/>
        </p:spPr>
        <p:txBody>
          <a:bodyPr wrap="square" rtlCol="0">
            <a:spAutoFit/>
          </a:bodyPr>
          <a:lstStyle/>
          <a:p>
            <a:r>
              <a:rPr kumimoji="1" lang="en-US" altLang="zh-CN" dirty="0"/>
              <a:t>·12 hierarchical</a:t>
            </a:r>
            <a:r>
              <a:rPr kumimoji="1" lang="zh-CN" altLang="en-US" dirty="0"/>
              <a:t> </a:t>
            </a:r>
            <a:r>
              <a:rPr kumimoji="1" lang="en-US" altLang="zh-CN" dirty="0"/>
              <a:t>levels</a:t>
            </a:r>
          </a:p>
          <a:p>
            <a:r>
              <a:rPr kumimoji="1" lang="en-US" altLang="zh-CN" dirty="0"/>
              <a:t>·</a:t>
            </a:r>
            <a:r>
              <a:rPr kumimoji="1" lang="zh-CN" altLang="en-US" dirty="0"/>
              <a:t> </a:t>
            </a:r>
            <a:r>
              <a:rPr kumimoji="1" lang="en-US" altLang="zh-CN" dirty="0"/>
              <a:t>CA / CA_3 / Food_3 </a:t>
            </a:r>
          </a:p>
          <a:p>
            <a:r>
              <a:rPr kumimoji="1" lang="en-US" altLang="zh-CN" dirty="0"/>
              <a:t>·</a:t>
            </a:r>
            <a:r>
              <a:rPr kumimoji="1" lang="zh-CN" altLang="en-US" dirty="0"/>
              <a:t> </a:t>
            </a:r>
            <a:r>
              <a:rPr kumimoji="1" lang="en-US" altLang="zh-CN" dirty="0"/>
              <a:t>sales</a:t>
            </a:r>
            <a:r>
              <a:rPr kumimoji="1" lang="zh-CN" altLang="en-US" dirty="0"/>
              <a:t> </a:t>
            </a:r>
            <a:r>
              <a:rPr kumimoji="1" lang="en-US" altLang="zh-CN" dirty="0"/>
              <a:t>mos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ataset</a:t>
            </a:r>
            <a:r>
              <a:rPr lang="zh-CN" altLang="en-US" dirty="0"/>
              <a:t> </a:t>
            </a:r>
            <a:r>
              <a:rPr lang="en-US" altLang="zh-CN" dirty="0"/>
              <a:t>Visualization: Periodic Feature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498" y="1122487"/>
            <a:ext cx="6096000" cy="4064000"/>
          </a:xfrm>
          <a:prstGeom prst="rect">
            <a:avLst/>
          </a:prstGeom>
        </p:spPr>
      </p:pic>
      <p:pic>
        <p:nvPicPr>
          <p:cNvPr id="8" name="图片 7"/>
          <p:cNvPicPr>
            <a:picLocks noChangeAspect="1"/>
          </p:cNvPicPr>
          <p:nvPr/>
        </p:nvPicPr>
        <p:blipFill rotWithShape="1">
          <a:blip r:embed="rId3">
            <a:extLst>
              <a:ext uri="{28A0092B-C50C-407E-A947-70E740481C1C}">
                <a14:useLocalDpi xmlns:a14="http://schemas.microsoft.com/office/drawing/2010/main" val="0"/>
              </a:ext>
            </a:extLst>
          </a:blip>
          <a:srcRect l="270" t="71414" r="-270" b="-4579"/>
          <a:stretch>
            <a:fillRect/>
          </a:stretch>
        </p:blipFill>
        <p:spPr>
          <a:xfrm>
            <a:off x="6654034" y="1374491"/>
            <a:ext cx="5268478" cy="2792393"/>
          </a:xfrm>
          <a:prstGeom prst="rect">
            <a:avLst/>
          </a:prstGeom>
        </p:spPr>
      </p:pic>
      <p:pic>
        <p:nvPicPr>
          <p:cNvPr id="10" name="图片 9"/>
          <p:cNvPicPr>
            <a:picLocks noChangeAspect="1"/>
          </p:cNvPicPr>
          <p:nvPr/>
        </p:nvPicPr>
        <p:blipFill rotWithShape="1">
          <a:blip r:embed="rId4">
            <a:extLst>
              <a:ext uri="{28A0092B-C50C-407E-A947-70E740481C1C}">
                <a14:useLocalDpi xmlns:a14="http://schemas.microsoft.com/office/drawing/2010/main" val="0"/>
              </a:ext>
            </a:extLst>
          </a:blip>
          <a:srcRect l="2155" t="70718" r="-2155" b="-1"/>
          <a:stretch>
            <a:fillRect/>
          </a:stretch>
        </p:blipFill>
        <p:spPr>
          <a:xfrm>
            <a:off x="6583698" y="3745281"/>
            <a:ext cx="5558742" cy="2598372"/>
          </a:xfrm>
          <a:prstGeom prst="rect">
            <a:avLst/>
          </a:prstGeom>
        </p:spPr>
      </p:pic>
      <p:sp>
        <p:nvSpPr>
          <p:cNvPr id="11" name="文本框 10"/>
          <p:cNvSpPr txBox="1"/>
          <p:nvPr/>
        </p:nvSpPr>
        <p:spPr>
          <a:xfrm>
            <a:off x="1293322" y="5275432"/>
            <a:ext cx="2928394" cy="369332"/>
          </a:xfrm>
          <a:prstGeom prst="rect">
            <a:avLst/>
          </a:prstGeom>
          <a:noFill/>
        </p:spPr>
        <p:txBody>
          <a:bodyPr wrap="square" rtlCol="0">
            <a:spAutoFit/>
          </a:bodyPr>
          <a:lstStyle/>
          <a:p>
            <a:r>
              <a:rPr kumimoji="1" lang="en-US" altLang="zh-CN" dirty="0"/>
              <a:t>Monthly</a:t>
            </a:r>
            <a:r>
              <a:rPr kumimoji="1" lang="zh-CN" altLang="en-US" dirty="0"/>
              <a:t> </a:t>
            </a:r>
            <a:r>
              <a:rPr kumimoji="1" lang="en-US" altLang="zh-CN" dirty="0"/>
              <a:t>and</a:t>
            </a:r>
            <a:r>
              <a:rPr kumimoji="1" lang="zh-CN" altLang="en-US" dirty="0"/>
              <a:t> </a:t>
            </a:r>
            <a:r>
              <a:rPr kumimoji="1" lang="en-US" altLang="zh-CN" dirty="0"/>
              <a:t>weekly</a:t>
            </a:r>
            <a:r>
              <a:rPr kumimoji="1" lang="zh-CN" altLang="en-US" dirty="0"/>
              <a:t> </a:t>
            </a:r>
            <a:r>
              <a:rPr kumimoji="1" lang="en-US" altLang="zh-CN" dirty="0"/>
              <a:t>days</a:t>
            </a:r>
            <a:endParaRPr kumimoji="1" lang="zh-CN" altLang="en-US" dirty="0"/>
          </a:p>
        </p:txBody>
      </p:sp>
      <p:sp>
        <p:nvSpPr>
          <p:cNvPr id="12" name="文本框 11"/>
          <p:cNvSpPr txBox="1"/>
          <p:nvPr/>
        </p:nvSpPr>
        <p:spPr>
          <a:xfrm>
            <a:off x="8326541" y="1005159"/>
            <a:ext cx="1689000" cy="369332"/>
          </a:xfrm>
          <a:prstGeom prst="rect">
            <a:avLst/>
          </a:prstGeom>
          <a:noFill/>
        </p:spPr>
        <p:txBody>
          <a:bodyPr wrap="square" rtlCol="0">
            <a:spAutoFit/>
          </a:bodyPr>
          <a:lstStyle/>
          <a:p>
            <a:pPr algn="ctr"/>
            <a:r>
              <a:rPr kumimoji="1" lang="en-US" altLang="zh-CN" dirty="0"/>
              <a:t>Snap</a:t>
            </a:r>
            <a:r>
              <a:rPr kumimoji="1" lang="zh-CN" altLang="en-US" dirty="0"/>
              <a:t> </a:t>
            </a:r>
            <a:r>
              <a:rPr kumimoji="1" lang="en-US" altLang="zh-CN" dirty="0"/>
              <a:t>days</a:t>
            </a:r>
            <a:endParaRPr kumimoji="1" lang="zh-CN" altLang="en-US" dirty="0"/>
          </a:p>
        </p:txBody>
      </p:sp>
      <p:sp>
        <p:nvSpPr>
          <p:cNvPr id="13" name="文本框 12"/>
          <p:cNvSpPr txBox="1"/>
          <p:nvPr/>
        </p:nvSpPr>
        <p:spPr>
          <a:xfrm>
            <a:off x="8610599" y="6262178"/>
            <a:ext cx="1404942" cy="369332"/>
          </a:xfrm>
          <a:prstGeom prst="rect">
            <a:avLst/>
          </a:prstGeom>
          <a:noFill/>
        </p:spPr>
        <p:txBody>
          <a:bodyPr wrap="square" rtlCol="0">
            <a:spAutoFit/>
          </a:bodyPr>
          <a:lstStyle/>
          <a:p>
            <a:pPr algn="ctr"/>
            <a:r>
              <a:rPr kumimoji="1" lang="en-US" altLang="zh-CN" dirty="0"/>
              <a:t>Event</a:t>
            </a:r>
            <a:r>
              <a:rPr kumimoji="1" lang="zh-CN" altLang="en-US" dirty="0"/>
              <a:t> </a:t>
            </a:r>
            <a:r>
              <a:rPr kumimoji="1" lang="en-US" altLang="zh-CN" dirty="0"/>
              <a:t>days</a:t>
            </a:r>
            <a:endParaRPr kumimoji="1" lang="zh-CN"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ata</a:t>
            </a:r>
            <a:r>
              <a:rPr lang="zh-CN" altLang="en-US" dirty="0"/>
              <a:t> </a:t>
            </a:r>
            <a:r>
              <a:rPr lang="en-US" altLang="zh-CN" dirty="0"/>
              <a:t>Preprocessing</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8</a:t>
            </a:fld>
            <a:endParaRPr lang="zh-CN" altLang="en-US"/>
          </a:p>
        </p:txBody>
      </p:sp>
      <p:grpSp>
        <p:nvGrpSpPr>
          <p:cNvPr id="5" name="2e96e51e-8745-4ea6-944e-cbefeb4d833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1125538"/>
            <a:ext cx="12192000" cy="5018087"/>
            <a:chOff x="0" y="1125538"/>
            <a:chExt cx="12192000" cy="5018087"/>
          </a:xfrm>
        </p:grpSpPr>
        <p:sp>
          <p:nvSpPr>
            <p:cNvPr id="6" name="íŝļîḑé"/>
            <p:cNvSpPr/>
            <p:nvPr/>
          </p:nvSpPr>
          <p:spPr>
            <a:xfrm>
              <a:off x="0" y="3743611"/>
              <a:ext cx="12192000" cy="2373027"/>
            </a:xfrm>
            <a:prstGeom prst="roundRect">
              <a:avLst>
                <a:gd name="adj" fmla="val 0"/>
              </a:avLst>
            </a:prstGeom>
            <a:blipFill>
              <a:blip r:embed="rId3"/>
              <a:stretch>
                <a:fillRect t="-121840" b="-120542"/>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p>
          </p:txBody>
        </p:sp>
        <p:grpSp>
          <p:nvGrpSpPr>
            <p:cNvPr id="7" name="îṩľiḋê"/>
            <p:cNvGrpSpPr/>
            <p:nvPr/>
          </p:nvGrpSpPr>
          <p:grpSpPr>
            <a:xfrm>
              <a:off x="673100" y="3743611"/>
              <a:ext cx="3437066" cy="1703549"/>
              <a:chOff x="729803" y="3743611"/>
              <a:chExt cx="3437066" cy="1703549"/>
            </a:xfrm>
          </p:grpSpPr>
          <p:sp>
            <p:nvSpPr>
              <p:cNvPr id="25" name="î$ľidé"/>
              <p:cNvSpPr/>
              <p:nvPr/>
            </p:nvSpPr>
            <p:spPr>
              <a:xfrm>
                <a:off x="729803" y="3743611"/>
                <a:ext cx="3437066" cy="170354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kumimoji="1" lang="en-US" altLang="zh-CN" sz="2000" dirty="0"/>
                  <a:t>Memory</a:t>
                </a:r>
                <a:r>
                  <a:rPr kumimoji="1" lang="zh-CN" altLang="en-US" sz="2000" dirty="0"/>
                  <a:t> </a:t>
                </a:r>
                <a:r>
                  <a:rPr kumimoji="1" lang="en-US" altLang="zh-CN" sz="2000" dirty="0"/>
                  <a:t>usage</a:t>
                </a:r>
                <a:r>
                  <a:rPr kumimoji="1" lang="zh-CN" altLang="en-US" sz="2000" dirty="0"/>
                  <a:t> </a:t>
                </a:r>
                <a:r>
                  <a:rPr kumimoji="1" lang="en-US" altLang="zh-CN" sz="2000" dirty="0"/>
                  <a:t>reduction</a:t>
                </a:r>
                <a:endParaRPr lang="en-US" sz="2000" b="1" dirty="0"/>
              </a:p>
            </p:txBody>
          </p:sp>
          <p:sp>
            <p:nvSpPr>
              <p:cNvPr id="26" name="îṣļíḋé"/>
              <p:cNvSpPr/>
              <p:nvPr/>
            </p:nvSpPr>
            <p:spPr>
              <a:xfrm>
                <a:off x="2088159" y="4091930"/>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grpSp>
          <p:nvGrpSpPr>
            <p:cNvPr id="8" name="išļïde"/>
            <p:cNvGrpSpPr/>
            <p:nvPr/>
          </p:nvGrpSpPr>
          <p:grpSpPr>
            <a:xfrm>
              <a:off x="4377467" y="3743611"/>
              <a:ext cx="3437066" cy="1703549"/>
              <a:chOff x="4382800" y="3743611"/>
              <a:chExt cx="3437066" cy="1703549"/>
            </a:xfrm>
          </p:grpSpPr>
          <p:sp>
            <p:nvSpPr>
              <p:cNvPr id="23" name="í$ľïḓe"/>
              <p:cNvSpPr/>
              <p:nvPr/>
            </p:nvSpPr>
            <p:spPr>
              <a:xfrm>
                <a:off x="4382800" y="3743611"/>
                <a:ext cx="3437066" cy="1703549"/>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kumimoji="1" lang="en-US" altLang="zh-CN" sz="2000" dirty="0"/>
                  <a:t>Hierarchy</a:t>
                </a:r>
                <a:r>
                  <a:rPr kumimoji="1" lang="zh-CN" altLang="en-US" sz="2000" dirty="0"/>
                  <a:t> </a:t>
                </a:r>
                <a:r>
                  <a:rPr kumimoji="1" lang="en-US" altLang="zh-CN" sz="2000" dirty="0"/>
                  <a:t>aggregation</a:t>
                </a:r>
                <a:endParaRPr lang="en-US" altLang="zh-CN" sz="2000" b="1" dirty="0"/>
              </a:p>
            </p:txBody>
          </p:sp>
          <p:sp>
            <p:nvSpPr>
              <p:cNvPr id="24" name="îṩľíḑe"/>
              <p:cNvSpPr/>
              <p:nvPr/>
            </p:nvSpPr>
            <p:spPr>
              <a:xfrm>
                <a:off x="5741156" y="4091930"/>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grpSp>
          <p:nvGrpSpPr>
            <p:cNvPr id="9" name="ïşḻiďe"/>
            <p:cNvGrpSpPr/>
            <p:nvPr/>
          </p:nvGrpSpPr>
          <p:grpSpPr>
            <a:xfrm>
              <a:off x="8081834" y="3743611"/>
              <a:ext cx="3437066" cy="1703549"/>
              <a:chOff x="8035797" y="3743611"/>
              <a:chExt cx="3437066" cy="1703549"/>
            </a:xfrm>
          </p:grpSpPr>
          <p:sp>
            <p:nvSpPr>
              <p:cNvPr id="21" name="ïṣḷiḑê"/>
              <p:cNvSpPr/>
              <p:nvPr/>
            </p:nvSpPr>
            <p:spPr>
              <a:xfrm>
                <a:off x="8035797" y="3743611"/>
                <a:ext cx="3437066" cy="170354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r>
                  <a:rPr kumimoji="1" lang="en-US" altLang="zh-CN" sz="2000" dirty="0"/>
                  <a:t>Missing</a:t>
                </a:r>
                <a:r>
                  <a:rPr kumimoji="1" lang="zh-CN" altLang="en-US" sz="2000" dirty="0"/>
                  <a:t> </a:t>
                </a:r>
                <a:r>
                  <a:rPr kumimoji="1" lang="en-US" altLang="zh-CN" sz="2000" dirty="0"/>
                  <a:t>values</a:t>
                </a:r>
                <a:endParaRPr lang="en-US" altLang="zh-CN" sz="2000" b="1" dirty="0"/>
              </a:p>
            </p:txBody>
          </p:sp>
          <p:sp>
            <p:nvSpPr>
              <p:cNvPr id="22" name="íşľiḋé"/>
              <p:cNvSpPr/>
              <p:nvPr/>
            </p:nvSpPr>
            <p:spPr>
              <a:xfrm>
                <a:off x="9394153" y="4091930"/>
                <a:ext cx="720355" cy="502116"/>
              </a:xfrm>
              <a:custGeom>
                <a:avLst/>
                <a:gdLst>
                  <a:gd name="connsiteX0" fmla="*/ 6350 w 338138"/>
                  <a:gd name="connsiteY0" fmla="*/ 196850 h 220663"/>
                  <a:gd name="connsiteX1" fmla="*/ 6350 w 338138"/>
                  <a:gd name="connsiteY1" fmla="*/ 203654 h 220663"/>
                  <a:gd name="connsiteX2" fmla="*/ 115798 w 338138"/>
                  <a:gd name="connsiteY2" fmla="*/ 203654 h 220663"/>
                  <a:gd name="connsiteX3" fmla="*/ 118435 w 338138"/>
                  <a:gd name="connsiteY3" fmla="*/ 206375 h 220663"/>
                  <a:gd name="connsiteX4" fmla="*/ 115798 w 338138"/>
                  <a:gd name="connsiteY4" fmla="*/ 209097 h 220663"/>
                  <a:gd name="connsiteX5" fmla="*/ 6350 w 338138"/>
                  <a:gd name="connsiteY5" fmla="*/ 209097 h 220663"/>
                  <a:gd name="connsiteX6" fmla="*/ 6350 w 338138"/>
                  <a:gd name="connsiteY6" fmla="*/ 211818 h 220663"/>
                  <a:gd name="connsiteX7" fmla="*/ 10306 w 338138"/>
                  <a:gd name="connsiteY7" fmla="*/ 215900 h 220663"/>
                  <a:gd name="connsiteX8" fmla="*/ 329419 w 338138"/>
                  <a:gd name="connsiteY8" fmla="*/ 215900 h 220663"/>
                  <a:gd name="connsiteX9" fmla="*/ 333375 w 338138"/>
                  <a:gd name="connsiteY9" fmla="*/ 211818 h 220663"/>
                  <a:gd name="connsiteX10" fmla="*/ 333375 w 338138"/>
                  <a:gd name="connsiteY10" fmla="*/ 196850 h 220663"/>
                  <a:gd name="connsiteX11" fmla="*/ 6350 w 338138"/>
                  <a:gd name="connsiteY11" fmla="*/ 196850 h 220663"/>
                  <a:gd name="connsiteX12" fmla="*/ 25400 w 338138"/>
                  <a:gd name="connsiteY12" fmla="*/ 176212 h 220663"/>
                  <a:gd name="connsiteX13" fmla="*/ 25400 w 338138"/>
                  <a:gd name="connsiteY13" fmla="*/ 190500 h 220663"/>
                  <a:gd name="connsiteX14" fmla="*/ 312738 w 338138"/>
                  <a:gd name="connsiteY14" fmla="*/ 190500 h 220663"/>
                  <a:gd name="connsiteX15" fmla="*/ 312738 w 338138"/>
                  <a:gd name="connsiteY15" fmla="*/ 176212 h 220663"/>
                  <a:gd name="connsiteX16" fmla="*/ 91503 w 338138"/>
                  <a:gd name="connsiteY16" fmla="*/ 28320 h 220663"/>
                  <a:gd name="connsiteX17" fmla="*/ 95504 w 338138"/>
                  <a:gd name="connsiteY17" fmla="*/ 28320 h 220663"/>
                  <a:gd name="connsiteX18" fmla="*/ 95504 w 338138"/>
                  <a:gd name="connsiteY18" fmla="*/ 32321 h 220663"/>
                  <a:gd name="connsiteX19" fmla="*/ 35496 w 338138"/>
                  <a:gd name="connsiteY19" fmla="*/ 92328 h 220663"/>
                  <a:gd name="connsiteX20" fmla="*/ 32829 w 338138"/>
                  <a:gd name="connsiteY20" fmla="*/ 93662 h 220663"/>
                  <a:gd name="connsiteX21" fmla="*/ 30162 w 338138"/>
                  <a:gd name="connsiteY21" fmla="*/ 92328 h 220663"/>
                  <a:gd name="connsiteX22" fmla="*/ 30162 w 338138"/>
                  <a:gd name="connsiteY22" fmla="*/ 88328 h 220663"/>
                  <a:gd name="connsiteX23" fmla="*/ 91503 w 338138"/>
                  <a:gd name="connsiteY23" fmla="*/ 28320 h 220663"/>
                  <a:gd name="connsiteX24" fmla="*/ 56621 w 338138"/>
                  <a:gd name="connsiteY24" fmla="*/ 28310 h 220663"/>
                  <a:gd name="connsiteX25" fmla="*/ 60589 w 338138"/>
                  <a:gd name="connsiteY25" fmla="*/ 28310 h 220663"/>
                  <a:gd name="connsiteX26" fmla="*/ 60589 w 338138"/>
                  <a:gd name="connsiteY26" fmla="*/ 32278 h 220663"/>
                  <a:gd name="connsiteX27" fmla="*/ 35454 w 338138"/>
                  <a:gd name="connsiteY27" fmla="*/ 57414 h 220663"/>
                  <a:gd name="connsiteX28" fmla="*/ 32808 w 338138"/>
                  <a:gd name="connsiteY28" fmla="*/ 58737 h 220663"/>
                  <a:gd name="connsiteX29" fmla="*/ 30162 w 338138"/>
                  <a:gd name="connsiteY29" fmla="*/ 57414 h 220663"/>
                  <a:gd name="connsiteX30" fmla="*/ 30162 w 338138"/>
                  <a:gd name="connsiteY30" fmla="*/ 53445 h 220663"/>
                  <a:gd name="connsiteX31" fmla="*/ 56621 w 338138"/>
                  <a:gd name="connsiteY31" fmla="*/ 28310 h 220663"/>
                  <a:gd name="connsiteX32" fmla="*/ 126415 w 338138"/>
                  <a:gd name="connsiteY32" fmla="*/ 28303 h 220663"/>
                  <a:gd name="connsiteX33" fmla="*/ 130425 w 338138"/>
                  <a:gd name="connsiteY33" fmla="*/ 28303 h 220663"/>
                  <a:gd name="connsiteX34" fmla="*/ 130425 w 338138"/>
                  <a:gd name="connsiteY34" fmla="*/ 32251 h 220663"/>
                  <a:gd name="connsiteX35" fmla="*/ 35510 w 338138"/>
                  <a:gd name="connsiteY35" fmla="*/ 125684 h 220663"/>
                  <a:gd name="connsiteX36" fmla="*/ 32836 w 338138"/>
                  <a:gd name="connsiteY36" fmla="*/ 127000 h 220663"/>
                  <a:gd name="connsiteX37" fmla="*/ 30162 w 338138"/>
                  <a:gd name="connsiteY37" fmla="*/ 125684 h 220663"/>
                  <a:gd name="connsiteX38" fmla="*/ 30162 w 338138"/>
                  <a:gd name="connsiteY38" fmla="*/ 121736 h 220663"/>
                  <a:gd name="connsiteX39" fmla="*/ 126415 w 338138"/>
                  <a:gd name="connsiteY39" fmla="*/ 28303 h 220663"/>
                  <a:gd name="connsiteX40" fmla="*/ 25400 w 338138"/>
                  <a:gd name="connsiteY40" fmla="*/ 19050 h 220663"/>
                  <a:gd name="connsiteX41" fmla="*/ 25400 w 338138"/>
                  <a:gd name="connsiteY41" fmla="*/ 169863 h 220663"/>
                  <a:gd name="connsiteX42" fmla="*/ 312738 w 338138"/>
                  <a:gd name="connsiteY42" fmla="*/ 169863 h 220663"/>
                  <a:gd name="connsiteX43" fmla="*/ 312738 w 338138"/>
                  <a:gd name="connsiteY43" fmla="*/ 160602 h 220663"/>
                  <a:gd name="connsiteX44" fmla="*/ 265288 w 338138"/>
                  <a:gd name="connsiteY44" fmla="*/ 160602 h 220663"/>
                  <a:gd name="connsiteX45" fmla="*/ 262652 w 338138"/>
                  <a:gd name="connsiteY45" fmla="*/ 157956 h 220663"/>
                  <a:gd name="connsiteX46" fmla="*/ 265288 w 338138"/>
                  <a:gd name="connsiteY46" fmla="*/ 153988 h 220663"/>
                  <a:gd name="connsiteX47" fmla="*/ 312738 w 338138"/>
                  <a:gd name="connsiteY47" fmla="*/ 153988 h 220663"/>
                  <a:gd name="connsiteX48" fmla="*/ 312738 w 338138"/>
                  <a:gd name="connsiteY48" fmla="*/ 146050 h 220663"/>
                  <a:gd name="connsiteX49" fmla="*/ 233654 w 338138"/>
                  <a:gd name="connsiteY49" fmla="*/ 146050 h 220663"/>
                  <a:gd name="connsiteX50" fmla="*/ 231018 w 338138"/>
                  <a:gd name="connsiteY50" fmla="*/ 143404 h 220663"/>
                  <a:gd name="connsiteX51" fmla="*/ 233654 w 338138"/>
                  <a:gd name="connsiteY51" fmla="*/ 139436 h 220663"/>
                  <a:gd name="connsiteX52" fmla="*/ 312738 w 338138"/>
                  <a:gd name="connsiteY52" fmla="*/ 139436 h 220663"/>
                  <a:gd name="connsiteX53" fmla="*/ 312738 w 338138"/>
                  <a:gd name="connsiteY53" fmla="*/ 19050 h 220663"/>
                  <a:gd name="connsiteX54" fmla="*/ 25400 w 338138"/>
                  <a:gd name="connsiteY54" fmla="*/ 19050 h 220663"/>
                  <a:gd name="connsiteX55" fmla="*/ 35945 w 338138"/>
                  <a:gd name="connsiteY55" fmla="*/ 4762 h 220663"/>
                  <a:gd name="connsiteX56" fmla="*/ 25400 w 338138"/>
                  <a:gd name="connsiteY56" fmla="*/ 14287 h 220663"/>
                  <a:gd name="connsiteX57" fmla="*/ 312738 w 338138"/>
                  <a:gd name="connsiteY57" fmla="*/ 14287 h 220663"/>
                  <a:gd name="connsiteX58" fmla="*/ 302194 w 338138"/>
                  <a:gd name="connsiteY58" fmla="*/ 4762 h 220663"/>
                  <a:gd name="connsiteX59" fmla="*/ 35945 w 338138"/>
                  <a:gd name="connsiteY59" fmla="*/ 4762 h 220663"/>
                  <a:gd name="connsiteX60" fmla="*/ 35663 w 338138"/>
                  <a:gd name="connsiteY60" fmla="*/ 0 h 220663"/>
                  <a:gd name="connsiteX61" fmla="*/ 302475 w 338138"/>
                  <a:gd name="connsiteY61" fmla="*/ 0 h 220663"/>
                  <a:gd name="connsiteX62" fmla="*/ 318325 w 338138"/>
                  <a:gd name="connsiteY62" fmla="*/ 15761 h 220663"/>
                  <a:gd name="connsiteX63" fmla="*/ 318325 w 338138"/>
                  <a:gd name="connsiteY63" fmla="*/ 190453 h 220663"/>
                  <a:gd name="connsiteX64" fmla="*/ 335497 w 338138"/>
                  <a:gd name="connsiteY64" fmla="*/ 190453 h 220663"/>
                  <a:gd name="connsiteX65" fmla="*/ 338138 w 338138"/>
                  <a:gd name="connsiteY65" fmla="*/ 194393 h 220663"/>
                  <a:gd name="connsiteX66" fmla="*/ 338138 w 338138"/>
                  <a:gd name="connsiteY66" fmla="*/ 211469 h 220663"/>
                  <a:gd name="connsiteX67" fmla="*/ 328892 w 338138"/>
                  <a:gd name="connsiteY67" fmla="*/ 220663 h 220663"/>
                  <a:gd name="connsiteX68" fmla="*/ 9246 w 338138"/>
                  <a:gd name="connsiteY68" fmla="*/ 220663 h 220663"/>
                  <a:gd name="connsiteX69" fmla="*/ 0 w 338138"/>
                  <a:gd name="connsiteY69" fmla="*/ 211469 h 220663"/>
                  <a:gd name="connsiteX70" fmla="*/ 0 w 338138"/>
                  <a:gd name="connsiteY70" fmla="*/ 194393 h 220663"/>
                  <a:gd name="connsiteX71" fmla="*/ 2641 w 338138"/>
                  <a:gd name="connsiteY71" fmla="*/ 190453 h 220663"/>
                  <a:gd name="connsiteX72" fmla="*/ 19813 w 338138"/>
                  <a:gd name="connsiteY72" fmla="*/ 190453 h 220663"/>
                  <a:gd name="connsiteX73" fmla="*/ 19813 w 338138"/>
                  <a:gd name="connsiteY73" fmla="*/ 15761 h 220663"/>
                  <a:gd name="connsiteX74" fmla="*/ 35663 w 338138"/>
                  <a:gd name="connsiteY74" fmla="*/ 0 h 22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8138" h="220663">
                    <a:moveTo>
                      <a:pt x="6350" y="196850"/>
                    </a:moveTo>
                    <a:cubicBezTo>
                      <a:pt x="6350" y="196850"/>
                      <a:pt x="6350" y="196850"/>
                      <a:pt x="6350" y="203654"/>
                    </a:cubicBezTo>
                    <a:cubicBezTo>
                      <a:pt x="6350" y="203654"/>
                      <a:pt x="6350" y="203654"/>
                      <a:pt x="115798" y="203654"/>
                    </a:cubicBezTo>
                    <a:cubicBezTo>
                      <a:pt x="117117" y="203654"/>
                      <a:pt x="118435" y="205015"/>
                      <a:pt x="118435" y="206375"/>
                    </a:cubicBezTo>
                    <a:cubicBezTo>
                      <a:pt x="118435" y="207736"/>
                      <a:pt x="117117" y="209097"/>
                      <a:pt x="115798" y="209097"/>
                    </a:cubicBezTo>
                    <a:cubicBezTo>
                      <a:pt x="115798" y="209097"/>
                      <a:pt x="115798" y="209097"/>
                      <a:pt x="6350" y="209097"/>
                    </a:cubicBezTo>
                    <a:cubicBezTo>
                      <a:pt x="6350" y="209097"/>
                      <a:pt x="6350" y="209097"/>
                      <a:pt x="6350" y="211818"/>
                    </a:cubicBezTo>
                    <a:cubicBezTo>
                      <a:pt x="6350" y="213179"/>
                      <a:pt x="8988" y="215900"/>
                      <a:pt x="10306" y="215900"/>
                    </a:cubicBezTo>
                    <a:cubicBezTo>
                      <a:pt x="10306" y="215900"/>
                      <a:pt x="10306" y="215900"/>
                      <a:pt x="329419" y="215900"/>
                    </a:cubicBezTo>
                    <a:cubicBezTo>
                      <a:pt x="330738" y="215900"/>
                      <a:pt x="333375" y="213179"/>
                      <a:pt x="333375" y="211818"/>
                    </a:cubicBezTo>
                    <a:lnTo>
                      <a:pt x="333375" y="196850"/>
                    </a:lnTo>
                    <a:cubicBezTo>
                      <a:pt x="333375" y="196850"/>
                      <a:pt x="333375" y="196850"/>
                      <a:pt x="6350" y="196850"/>
                    </a:cubicBezTo>
                    <a:close/>
                    <a:moveTo>
                      <a:pt x="25400" y="176212"/>
                    </a:moveTo>
                    <a:lnTo>
                      <a:pt x="25400" y="190500"/>
                    </a:lnTo>
                    <a:lnTo>
                      <a:pt x="312738" y="190500"/>
                    </a:lnTo>
                    <a:lnTo>
                      <a:pt x="312738" y="176212"/>
                    </a:lnTo>
                    <a:close/>
                    <a:moveTo>
                      <a:pt x="91503" y="28320"/>
                    </a:moveTo>
                    <a:cubicBezTo>
                      <a:pt x="92837" y="26987"/>
                      <a:pt x="94170" y="26987"/>
                      <a:pt x="95504" y="28320"/>
                    </a:cubicBezTo>
                    <a:cubicBezTo>
                      <a:pt x="96837" y="28320"/>
                      <a:pt x="96837" y="30987"/>
                      <a:pt x="95504" y="32321"/>
                    </a:cubicBezTo>
                    <a:cubicBezTo>
                      <a:pt x="95504" y="32321"/>
                      <a:pt x="95504" y="32321"/>
                      <a:pt x="35496" y="92328"/>
                    </a:cubicBezTo>
                    <a:cubicBezTo>
                      <a:pt x="34163" y="93662"/>
                      <a:pt x="34163" y="93662"/>
                      <a:pt x="32829" y="93662"/>
                    </a:cubicBezTo>
                    <a:cubicBezTo>
                      <a:pt x="31496" y="93662"/>
                      <a:pt x="31496" y="93662"/>
                      <a:pt x="30162" y="92328"/>
                    </a:cubicBezTo>
                    <a:cubicBezTo>
                      <a:pt x="30162" y="92328"/>
                      <a:pt x="30162" y="89661"/>
                      <a:pt x="30162" y="88328"/>
                    </a:cubicBezTo>
                    <a:cubicBezTo>
                      <a:pt x="30162" y="88328"/>
                      <a:pt x="30162" y="88328"/>
                      <a:pt x="91503" y="28320"/>
                    </a:cubicBezTo>
                    <a:close/>
                    <a:moveTo>
                      <a:pt x="56621" y="28310"/>
                    </a:moveTo>
                    <a:cubicBezTo>
                      <a:pt x="57943" y="26987"/>
                      <a:pt x="59266" y="26987"/>
                      <a:pt x="60589" y="28310"/>
                    </a:cubicBezTo>
                    <a:cubicBezTo>
                      <a:pt x="61912" y="28310"/>
                      <a:pt x="61912" y="30956"/>
                      <a:pt x="60589" y="32278"/>
                    </a:cubicBezTo>
                    <a:cubicBezTo>
                      <a:pt x="60589" y="32278"/>
                      <a:pt x="60589" y="32278"/>
                      <a:pt x="35454" y="57414"/>
                    </a:cubicBezTo>
                    <a:cubicBezTo>
                      <a:pt x="34131" y="58737"/>
                      <a:pt x="34131" y="58737"/>
                      <a:pt x="32808" y="58737"/>
                    </a:cubicBezTo>
                    <a:cubicBezTo>
                      <a:pt x="31485" y="58737"/>
                      <a:pt x="31485" y="58737"/>
                      <a:pt x="30162" y="57414"/>
                    </a:cubicBezTo>
                    <a:cubicBezTo>
                      <a:pt x="30162" y="56091"/>
                      <a:pt x="30162" y="54768"/>
                      <a:pt x="30162" y="53445"/>
                    </a:cubicBezTo>
                    <a:cubicBezTo>
                      <a:pt x="30162" y="53445"/>
                      <a:pt x="30162" y="53445"/>
                      <a:pt x="56621" y="28310"/>
                    </a:cubicBezTo>
                    <a:close/>
                    <a:moveTo>
                      <a:pt x="126415" y="28303"/>
                    </a:moveTo>
                    <a:cubicBezTo>
                      <a:pt x="127752" y="26987"/>
                      <a:pt x="129089" y="26987"/>
                      <a:pt x="130425" y="28303"/>
                    </a:cubicBezTo>
                    <a:cubicBezTo>
                      <a:pt x="131762" y="28303"/>
                      <a:pt x="131762" y="30935"/>
                      <a:pt x="130425" y="32251"/>
                    </a:cubicBezTo>
                    <a:cubicBezTo>
                      <a:pt x="130425" y="32251"/>
                      <a:pt x="130425" y="32251"/>
                      <a:pt x="35510" y="125684"/>
                    </a:cubicBezTo>
                    <a:cubicBezTo>
                      <a:pt x="34173" y="127000"/>
                      <a:pt x="34173" y="127000"/>
                      <a:pt x="32836" y="127000"/>
                    </a:cubicBezTo>
                    <a:cubicBezTo>
                      <a:pt x="31499" y="127000"/>
                      <a:pt x="31499" y="127000"/>
                      <a:pt x="30162" y="125684"/>
                    </a:cubicBezTo>
                    <a:cubicBezTo>
                      <a:pt x="30162" y="125684"/>
                      <a:pt x="30162" y="123052"/>
                      <a:pt x="30162" y="121736"/>
                    </a:cubicBezTo>
                    <a:cubicBezTo>
                      <a:pt x="30162" y="121736"/>
                      <a:pt x="30162" y="121736"/>
                      <a:pt x="126415" y="28303"/>
                    </a:cubicBezTo>
                    <a:close/>
                    <a:moveTo>
                      <a:pt x="25400" y="19050"/>
                    </a:moveTo>
                    <a:lnTo>
                      <a:pt x="25400" y="169863"/>
                    </a:lnTo>
                    <a:cubicBezTo>
                      <a:pt x="25400" y="169863"/>
                      <a:pt x="25400" y="169863"/>
                      <a:pt x="312738" y="169863"/>
                    </a:cubicBezTo>
                    <a:cubicBezTo>
                      <a:pt x="312738" y="169863"/>
                      <a:pt x="312738" y="169863"/>
                      <a:pt x="312738" y="160602"/>
                    </a:cubicBezTo>
                    <a:cubicBezTo>
                      <a:pt x="312738" y="160602"/>
                      <a:pt x="312738" y="160602"/>
                      <a:pt x="265288" y="160602"/>
                    </a:cubicBezTo>
                    <a:cubicBezTo>
                      <a:pt x="263970" y="160602"/>
                      <a:pt x="262652" y="159279"/>
                      <a:pt x="262652" y="157956"/>
                    </a:cubicBezTo>
                    <a:cubicBezTo>
                      <a:pt x="262652" y="155311"/>
                      <a:pt x="263970" y="153988"/>
                      <a:pt x="265288" y="153988"/>
                    </a:cubicBezTo>
                    <a:cubicBezTo>
                      <a:pt x="265288" y="153988"/>
                      <a:pt x="265288" y="153988"/>
                      <a:pt x="312738" y="153988"/>
                    </a:cubicBezTo>
                    <a:cubicBezTo>
                      <a:pt x="312738" y="153988"/>
                      <a:pt x="312738" y="153988"/>
                      <a:pt x="312738" y="146050"/>
                    </a:cubicBezTo>
                    <a:cubicBezTo>
                      <a:pt x="312738" y="146050"/>
                      <a:pt x="312738" y="146050"/>
                      <a:pt x="233654" y="146050"/>
                    </a:cubicBezTo>
                    <a:cubicBezTo>
                      <a:pt x="232336" y="146050"/>
                      <a:pt x="231018" y="144727"/>
                      <a:pt x="231018" y="143404"/>
                    </a:cubicBezTo>
                    <a:cubicBezTo>
                      <a:pt x="231018" y="140758"/>
                      <a:pt x="232336" y="139436"/>
                      <a:pt x="233654" y="139436"/>
                    </a:cubicBezTo>
                    <a:cubicBezTo>
                      <a:pt x="233654" y="139436"/>
                      <a:pt x="233654" y="139436"/>
                      <a:pt x="312738" y="139436"/>
                    </a:cubicBezTo>
                    <a:cubicBezTo>
                      <a:pt x="312738" y="139436"/>
                      <a:pt x="312738" y="139436"/>
                      <a:pt x="312738" y="19050"/>
                    </a:cubicBezTo>
                    <a:cubicBezTo>
                      <a:pt x="312738" y="19050"/>
                      <a:pt x="312738" y="19050"/>
                      <a:pt x="25400" y="19050"/>
                    </a:cubicBezTo>
                    <a:close/>
                    <a:moveTo>
                      <a:pt x="35945" y="4762"/>
                    </a:moveTo>
                    <a:cubicBezTo>
                      <a:pt x="30673" y="4762"/>
                      <a:pt x="26718" y="8844"/>
                      <a:pt x="25400" y="14287"/>
                    </a:cubicBezTo>
                    <a:cubicBezTo>
                      <a:pt x="25400" y="14287"/>
                      <a:pt x="25400" y="14287"/>
                      <a:pt x="312738" y="14287"/>
                    </a:cubicBezTo>
                    <a:cubicBezTo>
                      <a:pt x="311420" y="8844"/>
                      <a:pt x="307466" y="4762"/>
                      <a:pt x="302194" y="4762"/>
                    </a:cubicBezTo>
                    <a:cubicBezTo>
                      <a:pt x="302194" y="4762"/>
                      <a:pt x="302194" y="4762"/>
                      <a:pt x="35945" y="4762"/>
                    </a:cubicBezTo>
                    <a:close/>
                    <a:moveTo>
                      <a:pt x="35663" y="0"/>
                    </a:moveTo>
                    <a:cubicBezTo>
                      <a:pt x="35663" y="0"/>
                      <a:pt x="35663" y="0"/>
                      <a:pt x="302475" y="0"/>
                    </a:cubicBezTo>
                    <a:cubicBezTo>
                      <a:pt x="311721" y="0"/>
                      <a:pt x="318325" y="6567"/>
                      <a:pt x="318325" y="15761"/>
                    </a:cubicBezTo>
                    <a:cubicBezTo>
                      <a:pt x="318325" y="15761"/>
                      <a:pt x="318325" y="15761"/>
                      <a:pt x="318325" y="190453"/>
                    </a:cubicBezTo>
                    <a:cubicBezTo>
                      <a:pt x="318325" y="190453"/>
                      <a:pt x="318325" y="190453"/>
                      <a:pt x="335497" y="190453"/>
                    </a:cubicBezTo>
                    <a:cubicBezTo>
                      <a:pt x="336817" y="190453"/>
                      <a:pt x="338138" y="191766"/>
                      <a:pt x="338138" y="194393"/>
                    </a:cubicBezTo>
                    <a:cubicBezTo>
                      <a:pt x="338138" y="194393"/>
                      <a:pt x="338138" y="194393"/>
                      <a:pt x="338138" y="211469"/>
                    </a:cubicBezTo>
                    <a:cubicBezTo>
                      <a:pt x="338138" y="216723"/>
                      <a:pt x="334176" y="220663"/>
                      <a:pt x="328892" y="220663"/>
                    </a:cubicBezTo>
                    <a:cubicBezTo>
                      <a:pt x="328892" y="220663"/>
                      <a:pt x="328892" y="220663"/>
                      <a:pt x="9246" y="220663"/>
                    </a:cubicBezTo>
                    <a:cubicBezTo>
                      <a:pt x="3962" y="220663"/>
                      <a:pt x="0" y="216723"/>
                      <a:pt x="0" y="211469"/>
                    </a:cubicBezTo>
                    <a:cubicBezTo>
                      <a:pt x="0" y="211469"/>
                      <a:pt x="0" y="211469"/>
                      <a:pt x="0" y="194393"/>
                    </a:cubicBezTo>
                    <a:cubicBezTo>
                      <a:pt x="0" y="191766"/>
                      <a:pt x="1321" y="190453"/>
                      <a:pt x="2641" y="190453"/>
                    </a:cubicBezTo>
                    <a:cubicBezTo>
                      <a:pt x="2641" y="190453"/>
                      <a:pt x="2641" y="190453"/>
                      <a:pt x="19813" y="190453"/>
                    </a:cubicBezTo>
                    <a:cubicBezTo>
                      <a:pt x="19813" y="190453"/>
                      <a:pt x="19813" y="190453"/>
                      <a:pt x="19813" y="15761"/>
                    </a:cubicBezTo>
                    <a:cubicBezTo>
                      <a:pt x="19813" y="6567"/>
                      <a:pt x="26417" y="0"/>
                      <a:pt x="356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sz="900"/>
              </a:p>
            </p:txBody>
          </p:sp>
        </p:grpSp>
        <p:grpSp>
          <p:nvGrpSpPr>
            <p:cNvPr id="10" name="ïS1iḋé"/>
            <p:cNvGrpSpPr/>
            <p:nvPr/>
          </p:nvGrpSpPr>
          <p:grpSpPr>
            <a:xfrm>
              <a:off x="937191" y="1719000"/>
              <a:ext cx="2908885" cy="1765494"/>
              <a:chOff x="937191" y="1854000"/>
              <a:chExt cx="2908885" cy="1765494"/>
            </a:xfrm>
          </p:grpSpPr>
          <p:sp>
            <p:nvSpPr>
              <p:cNvPr id="19" name="í$ľiďè"/>
              <p:cNvSpPr/>
              <p:nvPr/>
            </p:nvSpPr>
            <p:spPr bwMode="auto">
              <a:xfrm>
                <a:off x="937191" y="2323247"/>
                <a:ext cx="2908884" cy="1296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100" dirty="0">
                    <a:solidFill>
                      <a:schemeClr val="tx1">
                        <a:lumMod val="95000"/>
                        <a:lumOff val="5000"/>
                      </a:schemeClr>
                    </a:solidFill>
                  </a:rPr>
                  <a:t>The</a:t>
                </a:r>
                <a:r>
                  <a:rPr lang="zh-CN" altLang="en-US" sz="1100" dirty="0">
                    <a:solidFill>
                      <a:schemeClr val="tx1">
                        <a:lumMod val="95000"/>
                        <a:lumOff val="5000"/>
                      </a:schemeClr>
                    </a:solidFill>
                  </a:rPr>
                  <a:t> </a:t>
                </a:r>
                <a:r>
                  <a:rPr lang="en-US" altLang="zh-CN" sz="1100" dirty="0">
                    <a:solidFill>
                      <a:schemeClr val="tx1">
                        <a:lumMod val="95000"/>
                        <a:lumOff val="5000"/>
                      </a:schemeClr>
                    </a:solidFill>
                  </a:rPr>
                  <a:t>data</a:t>
                </a:r>
                <a:r>
                  <a:rPr lang="zh-CN" altLang="en-US" sz="1100" dirty="0">
                    <a:solidFill>
                      <a:schemeClr val="tx1">
                        <a:lumMod val="95000"/>
                        <a:lumOff val="5000"/>
                      </a:schemeClr>
                    </a:solidFill>
                  </a:rPr>
                  <a:t> </a:t>
                </a:r>
                <a:r>
                  <a:rPr lang="en-US" altLang="zh-CN" sz="1100" dirty="0">
                    <a:solidFill>
                      <a:schemeClr val="tx1">
                        <a:lumMod val="95000"/>
                        <a:lumOff val="5000"/>
                      </a:schemeClr>
                    </a:solidFill>
                  </a:rPr>
                  <a:t>type</a:t>
                </a:r>
                <a:r>
                  <a:rPr lang="zh-CN" altLang="en-US" sz="1100" dirty="0">
                    <a:solidFill>
                      <a:schemeClr val="tx1">
                        <a:lumMod val="95000"/>
                        <a:lumOff val="5000"/>
                      </a:schemeClr>
                    </a:solidFill>
                  </a:rPr>
                  <a:t> </a:t>
                </a:r>
                <a:r>
                  <a:rPr lang="en-US" altLang="zh-CN" sz="1100" dirty="0">
                    <a:solidFill>
                      <a:schemeClr val="tx1">
                        <a:lumMod val="95000"/>
                        <a:lumOff val="5000"/>
                      </a:schemeClr>
                    </a:solidFill>
                  </a:rPr>
                  <a:t>of every numerical data, nearly half of memory resources are reduced.</a:t>
                </a:r>
                <a:endParaRPr lang="zh-CN" altLang="en-US" sz="1100" dirty="0">
                  <a:solidFill>
                    <a:schemeClr val="tx1">
                      <a:lumMod val="95000"/>
                      <a:lumOff val="5000"/>
                    </a:schemeClr>
                  </a:solidFill>
                </a:endParaRPr>
              </a:p>
            </p:txBody>
          </p:sp>
          <p:sp>
            <p:nvSpPr>
              <p:cNvPr id="20" name="íṧḻiďê"/>
              <p:cNvSpPr txBox="1"/>
              <p:nvPr/>
            </p:nvSpPr>
            <p:spPr bwMode="auto">
              <a:xfrm>
                <a:off x="937191" y="1854000"/>
                <a:ext cx="2908885" cy="46924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2000" b="1" dirty="0">
                    <a:solidFill>
                      <a:schemeClr val="tx1">
                        <a:lumMod val="95000"/>
                        <a:lumOff val="5000"/>
                      </a:schemeClr>
                    </a:solidFill>
                  </a:rPr>
                  <a:t>Change</a:t>
                </a:r>
              </a:p>
            </p:txBody>
          </p:sp>
        </p:grpSp>
        <p:grpSp>
          <p:nvGrpSpPr>
            <p:cNvPr id="11" name="iṣḷîďé"/>
            <p:cNvGrpSpPr/>
            <p:nvPr/>
          </p:nvGrpSpPr>
          <p:grpSpPr>
            <a:xfrm>
              <a:off x="4641558" y="1719000"/>
              <a:ext cx="2908885" cy="1765494"/>
              <a:chOff x="937191" y="1854000"/>
              <a:chExt cx="2908885" cy="1765494"/>
            </a:xfrm>
          </p:grpSpPr>
          <p:sp>
            <p:nvSpPr>
              <p:cNvPr id="17" name="iṡḻîde"/>
              <p:cNvSpPr/>
              <p:nvPr/>
            </p:nvSpPr>
            <p:spPr bwMode="auto">
              <a:xfrm>
                <a:off x="937191" y="2323247"/>
                <a:ext cx="2908884" cy="1296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100" dirty="0">
                    <a:solidFill>
                      <a:schemeClr val="tx1">
                        <a:lumMod val="95000"/>
                        <a:lumOff val="5000"/>
                      </a:schemeClr>
                    </a:solidFill>
                  </a:rPr>
                  <a:t>To make the submission files,</a:t>
                </a:r>
              </a:p>
              <a:p>
                <a:pPr algn="ctr">
                  <a:lnSpc>
                    <a:spcPct val="150000"/>
                  </a:lnSpc>
                  <a:spcBef>
                    <a:spcPct val="0"/>
                  </a:spcBef>
                </a:pPr>
                <a:r>
                  <a:rPr lang="en-US" altLang="zh-CN" sz="1100" dirty="0">
                    <a:solidFill>
                      <a:schemeClr val="tx1">
                        <a:lumMod val="95000"/>
                        <a:lumOff val="5000"/>
                      </a:schemeClr>
                    </a:solidFill>
                  </a:rPr>
                  <a:t>For each quantile,</a:t>
                </a:r>
              </a:p>
              <a:p>
                <a:pPr algn="ctr">
                  <a:lnSpc>
                    <a:spcPct val="150000"/>
                  </a:lnSpc>
                  <a:spcBef>
                    <a:spcPct val="0"/>
                  </a:spcBef>
                </a:pPr>
                <a:r>
                  <a:rPr lang="en-US" altLang="zh-CN" sz="1100" dirty="0">
                    <a:solidFill>
                      <a:schemeClr val="tx1">
                        <a:lumMod val="95000"/>
                        <a:lumOff val="5000"/>
                      </a:schemeClr>
                    </a:solidFill>
                  </a:rPr>
                  <a:t>It needs 42840 rows.</a:t>
                </a:r>
                <a:endParaRPr lang="zh-CN" altLang="en-US" sz="1100" dirty="0">
                  <a:solidFill>
                    <a:schemeClr val="tx1">
                      <a:lumMod val="95000"/>
                      <a:lumOff val="5000"/>
                    </a:schemeClr>
                  </a:solidFill>
                </a:endParaRPr>
              </a:p>
            </p:txBody>
          </p:sp>
          <p:sp>
            <p:nvSpPr>
              <p:cNvPr id="18" name="í$ļídè"/>
              <p:cNvSpPr txBox="1"/>
              <p:nvPr/>
            </p:nvSpPr>
            <p:spPr bwMode="auto">
              <a:xfrm>
                <a:off x="937191" y="1854000"/>
                <a:ext cx="2908885" cy="46924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2000" b="1" dirty="0" err="1">
                    <a:solidFill>
                      <a:schemeClr val="tx1">
                        <a:lumMod val="95000"/>
                        <a:lumOff val="5000"/>
                      </a:schemeClr>
                    </a:solidFill>
                  </a:rPr>
                  <a:t>Groupby</a:t>
                </a:r>
                <a:endParaRPr lang="en-US" altLang="zh-CN" sz="2000" b="1" dirty="0">
                  <a:solidFill>
                    <a:schemeClr val="tx1">
                      <a:lumMod val="95000"/>
                      <a:lumOff val="5000"/>
                    </a:schemeClr>
                  </a:solidFill>
                </a:endParaRPr>
              </a:p>
            </p:txBody>
          </p:sp>
        </p:grpSp>
        <p:grpSp>
          <p:nvGrpSpPr>
            <p:cNvPr id="12" name="ïṡḻíďé"/>
            <p:cNvGrpSpPr/>
            <p:nvPr/>
          </p:nvGrpSpPr>
          <p:grpSpPr>
            <a:xfrm>
              <a:off x="8345925" y="1719000"/>
              <a:ext cx="2908885" cy="1765494"/>
              <a:chOff x="937191" y="1854000"/>
              <a:chExt cx="2908885" cy="1765494"/>
            </a:xfrm>
          </p:grpSpPr>
          <p:sp>
            <p:nvSpPr>
              <p:cNvPr id="15" name="ïṡ1îdè"/>
              <p:cNvSpPr/>
              <p:nvPr/>
            </p:nvSpPr>
            <p:spPr bwMode="auto">
              <a:xfrm>
                <a:off x="937191" y="2323247"/>
                <a:ext cx="2908884" cy="1296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100" dirty="0">
                    <a:solidFill>
                      <a:schemeClr val="tx1">
                        <a:lumMod val="95000"/>
                        <a:lumOff val="5000"/>
                      </a:schemeClr>
                    </a:solidFill>
                  </a:rPr>
                  <a:t>Values just before or after </a:t>
                </a:r>
              </a:p>
              <a:p>
                <a:pPr algn="ctr">
                  <a:lnSpc>
                    <a:spcPct val="150000"/>
                  </a:lnSpc>
                  <a:spcBef>
                    <a:spcPct val="0"/>
                  </a:spcBef>
                </a:pPr>
                <a:r>
                  <a:rPr lang="en-US" altLang="zh-CN" sz="1100" dirty="0">
                    <a:solidFill>
                      <a:schemeClr val="tx1">
                        <a:lumMod val="95000"/>
                        <a:lumOff val="5000"/>
                      </a:schemeClr>
                    </a:solidFill>
                  </a:rPr>
                  <a:t>these 0 values </a:t>
                </a:r>
              </a:p>
              <a:p>
                <a:pPr algn="ctr">
                  <a:lnSpc>
                    <a:spcPct val="150000"/>
                  </a:lnSpc>
                  <a:spcBef>
                    <a:spcPct val="0"/>
                  </a:spcBef>
                </a:pPr>
                <a:r>
                  <a:rPr lang="en-US" altLang="zh-CN" sz="1100" dirty="0">
                    <a:solidFill>
                      <a:schemeClr val="tx1">
                        <a:lumMod val="95000"/>
                        <a:lumOff val="5000"/>
                      </a:schemeClr>
                    </a:solidFill>
                  </a:rPr>
                  <a:t>and </a:t>
                </a:r>
              </a:p>
              <a:p>
                <a:pPr algn="ctr">
                  <a:lnSpc>
                    <a:spcPct val="150000"/>
                  </a:lnSpc>
                  <a:spcBef>
                    <a:spcPct val="0"/>
                  </a:spcBef>
                </a:pPr>
                <a:r>
                  <a:rPr lang="en-US" altLang="zh-CN" sz="1100" dirty="0">
                    <a:solidFill>
                      <a:schemeClr val="tx1">
                        <a:lumMod val="95000"/>
                        <a:lumOff val="5000"/>
                      </a:schemeClr>
                    </a:solidFill>
                  </a:rPr>
                  <a:t>Fill in the  mean values</a:t>
                </a:r>
              </a:p>
              <a:p>
                <a:pPr algn="ctr">
                  <a:lnSpc>
                    <a:spcPct val="150000"/>
                  </a:lnSpc>
                  <a:spcBef>
                    <a:spcPct val="0"/>
                  </a:spcBef>
                </a:pPr>
                <a:r>
                  <a:rPr lang="en-US" altLang="zh-CN" sz="1100" dirty="0">
                    <a:solidFill>
                      <a:schemeClr val="tx1">
                        <a:lumMod val="95000"/>
                        <a:lumOff val="5000"/>
                      </a:schemeClr>
                    </a:solidFill>
                  </a:rPr>
                  <a:t>……</a:t>
                </a:r>
                <a:endParaRPr lang="zh-CN" altLang="en-US" sz="1100" dirty="0">
                  <a:solidFill>
                    <a:schemeClr val="tx1">
                      <a:lumMod val="95000"/>
                      <a:lumOff val="5000"/>
                    </a:schemeClr>
                  </a:solidFill>
                </a:endParaRPr>
              </a:p>
            </p:txBody>
          </p:sp>
          <p:sp>
            <p:nvSpPr>
              <p:cNvPr id="16" name="iśḻïḍé"/>
              <p:cNvSpPr txBox="1"/>
              <p:nvPr/>
            </p:nvSpPr>
            <p:spPr bwMode="auto">
              <a:xfrm>
                <a:off x="937191" y="1854000"/>
                <a:ext cx="2908885" cy="46924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2000" b="1" dirty="0">
                    <a:solidFill>
                      <a:schemeClr val="tx1">
                        <a:lumMod val="95000"/>
                        <a:lumOff val="5000"/>
                      </a:schemeClr>
                    </a:solidFill>
                  </a:rPr>
                  <a:t>Average</a:t>
                </a:r>
              </a:p>
            </p:txBody>
          </p:sp>
        </p:grpSp>
        <p:cxnSp>
          <p:nvCxnSpPr>
            <p:cNvPr id="13" name="直接连接符 12"/>
            <p:cNvCxnSpPr/>
            <p:nvPr/>
          </p:nvCxnSpPr>
          <p:spPr>
            <a:xfrm>
              <a:off x="4243817" y="1125538"/>
              <a:ext cx="0" cy="5018087"/>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7948184" y="1125538"/>
              <a:ext cx="0" cy="5018087"/>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Method and result of Accuracy</a:t>
            </a:r>
          </a:p>
        </p:txBody>
      </p:sp>
      <p:sp>
        <p:nvSpPr>
          <p:cNvPr id="6" name="文本占位符 5"/>
          <p:cNvSpPr>
            <a:spLocks noGrp="1"/>
          </p:cNvSpPr>
          <p:nvPr>
            <p:ph type="body" idx="1"/>
          </p:nvPr>
        </p:nvSpPr>
        <p:spPr/>
        <p:txBody>
          <a:bodyPr/>
          <a:lstStyle/>
          <a:p>
            <a:pPr lvl="0">
              <a:lnSpc>
                <a:spcPct val="100000"/>
              </a:lnSpc>
            </a:pPr>
            <a:r>
              <a:rPr lang="en-US" altLang="zh-CN" dirty="0"/>
              <a:t>About</a:t>
            </a:r>
          </a:p>
          <a:p>
            <a:pPr lvl="0">
              <a:lnSpc>
                <a:spcPct val="100000"/>
              </a:lnSpc>
            </a:pPr>
            <a:r>
              <a:rPr lang="en-US" altLang="zh-CN" dirty="0"/>
              <a:t>M5</a:t>
            </a:r>
            <a:r>
              <a:rPr lang="zh-CN" altLang="en-US" dirty="0"/>
              <a:t> </a:t>
            </a:r>
            <a:r>
              <a:rPr lang="en-US" altLang="zh-CN" dirty="0"/>
              <a:t>Forecasting</a:t>
            </a:r>
            <a:r>
              <a:rPr lang="zh-CN" altLang="en-US" dirty="0"/>
              <a:t>：</a:t>
            </a:r>
            <a:r>
              <a:rPr lang="en-US" altLang="zh-CN" dirty="0"/>
              <a:t>Accuracy &amp; Uncertainty</a:t>
            </a:r>
            <a:endParaRPr lang="zh-CN" altLang="en-US" dirty="0"/>
          </a:p>
        </p:txBody>
      </p:sp>
      <p:sp>
        <p:nvSpPr>
          <p:cNvPr id="9" name="文本框 8"/>
          <p:cNvSpPr txBox="1"/>
          <p:nvPr/>
        </p:nvSpPr>
        <p:spPr>
          <a:xfrm>
            <a:off x="3543251" y="272849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faeb3860-0e02-4cc6-9f56-79d398ebaa4b"/>
  <p:tag name="COMMONDATA" val="eyJoZGlkIjoiMzY4OTJhYzdmYjdmOGQ4N2RkYzJmMTVkY2Q1OGNjM2UifQ=="/>
</p:tagLst>
</file>

<file path=ppt/tags/tag10.xml><?xml version="1.0" encoding="utf-8"?>
<p:tagLst xmlns:a="http://schemas.openxmlformats.org/drawingml/2006/main" xmlns:r="http://schemas.openxmlformats.org/officeDocument/2006/relationships" xmlns:p="http://schemas.openxmlformats.org/presentationml/2006/main">
  <p:tag name="ISLIDE.DIAGRAM" val="2e96e51e-8745-4ea6-944e-cbefeb4d833d"/>
</p:tagLst>
</file>

<file path=ppt/tags/tag11.xml><?xml version="1.0" encoding="utf-8"?>
<p:tagLst xmlns:a="http://schemas.openxmlformats.org/drawingml/2006/main" xmlns:r="http://schemas.openxmlformats.org/officeDocument/2006/relationships" xmlns:p="http://schemas.openxmlformats.org/presentationml/2006/main">
  <p:tag name="ISLIDE.DIAGRAM" val="1e1e30c9-44e8-4808-b45e-c1de80d9257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82c00bc9-d39c-4c28-b77d-d3025646a9f0"/>
</p:tagLst>
</file>

<file path=ppt/tags/tag5.xml><?xml version="1.0" encoding="utf-8"?>
<p:tagLst xmlns:a="http://schemas.openxmlformats.org/drawingml/2006/main" xmlns:r="http://schemas.openxmlformats.org/officeDocument/2006/relationships" xmlns:p="http://schemas.openxmlformats.org/presentationml/2006/main">
  <p:tag name="ISLIDE.DIAGRAM" val="f66dfd7e-daf7-4158-a6ac-93997a64ed51"/>
</p:tagLst>
</file>

<file path=ppt/tags/tag6.xml><?xml version="1.0" encoding="utf-8"?>
<p:tagLst xmlns:a="http://schemas.openxmlformats.org/drawingml/2006/main" xmlns:r="http://schemas.openxmlformats.org/officeDocument/2006/relationships" xmlns:p="http://schemas.openxmlformats.org/presentationml/2006/main">
  <p:tag name="ISLIDE.DIAGRAM" val="2e96e51e-8745-4ea6-944e-cbefeb4d833d"/>
</p:tagLst>
</file>

<file path=ppt/tags/tag7.xml><?xml version="1.0" encoding="utf-8"?>
<p:tagLst xmlns:a="http://schemas.openxmlformats.org/drawingml/2006/main" xmlns:r="http://schemas.openxmlformats.org/officeDocument/2006/relationships" xmlns:p="http://schemas.openxmlformats.org/presentationml/2006/main">
  <p:tag name="ISLIDE.DIAGRAM" val="f66dfd7e-daf7-4158-a6ac-93997a64ed51"/>
</p:tagLst>
</file>

<file path=ppt/tags/tag8.xml><?xml version="1.0" encoding="utf-8"?>
<p:tagLst xmlns:a="http://schemas.openxmlformats.org/drawingml/2006/main" xmlns:r="http://schemas.openxmlformats.org/officeDocument/2006/relationships" xmlns:p="http://schemas.openxmlformats.org/presentationml/2006/main">
  <p:tag name="ISLIDE.DIAGRAM" val="4af1eef1-55ec-472b-aa87-ff141f5160db"/>
</p:tagLst>
</file>

<file path=ppt/tags/tag9.xml><?xml version="1.0" encoding="utf-8"?>
<p:tagLst xmlns:a="http://schemas.openxmlformats.org/drawingml/2006/main" xmlns:r="http://schemas.openxmlformats.org/officeDocument/2006/relationships" xmlns:p="http://schemas.openxmlformats.org/presentationml/2006/main">
  <p:tag name="KSO_WM_UNIT_TABLE_BEAUTIFY" val="smartTable{b3db3842-f071-43b8-9012-b7e77a74fb92}"/>
  <p:tag name="TABLE_ENDDRAG_ORIGIN_RECT" val="871*182"/>
  <p:tag name="TABLE_ENDDRAG_RECT" val="40*210*872*182"/>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PLUS">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556</TotalTime>
  <Words>1915</Words>
  <Application>Microsoft Office PowerPoint</Application>
  <PresentationFormat>宽屏</PresentationFormat>
  <Paragraphs>218</Paragraphs>
  <Slides>22</Slides>
  <Notes>12</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22</vt:i4>
      </vt:variant>
    </vt:vector>
  </HeadingPairs>
  <TitlesOfParts>
    <vt:vector size="30" baseType="lpstr">
      <vt:lpstr>微软雅黑</vt:lpstr>
      <vt:lpstr>Arial</vt:lpstr>
      <vt:lpstr>Calibri</vt:lpstr>
      <vt:lpstr>Impact</vt:lpstr>
      <vt:lpstr>Segoe UI Light</vt:lpstr>
      <vt:lpstr>主题5</vt:lpstr>
      <vt:lpstr>OfficePLUS</vt:lpstr>
      <vt:lpstr>think-cell Slide</vt:lpstr>
      <vt:lpstr>MSBD5013 Final Project Presentation</vt:lpstr>
      <vt:lpstr>Introduction</vt:lpstr>
      <vt:lpstr>Background</vt:lpstr>
      <vt:lpstr>Problem Definition</vt:lpstr>
      <vt:lpstr>Dataset Description</vt:lpstr>
      <vt:lpstr>Dataset Visualization: Hierarchy </vt:lpstr>
      <vt:lpstr>Dataset Visualization: Periodic Features</vt:lpstr>
      <vt:lpstr>Data Preprocessing</vt:lpstr>
      <vt:lpstr>Method and result of Accuracy</vt:lpstr>
      <vt:lpstr> LightGBM</vt:lpstr>
      <vt:lpstr>Model and Result</vt:lpstr>
      <vt:lpstr>Methods of Uncertainty</vt:lpstr>
      <vt:lpstr>Quantile Regression</vt:lpstr>
      <vt:lpstr>NNs and LSTM</vt:lpstr>
      <vt:lpstr>NNs with Quantile Regression</vt:lpstr>
      <vt:lpstr>LSTM with Quantile Regression</vt:lpstr>
      <vt:lpstr>From point to uncertainty estimation</vt:lpstr>
      <vt:lpstr>Results of Uncertainty</vt:lpstr>
      <vt:lpstr>Result of M5 Forecasting - uncertainty</vt:lpstr>
      <vt:lpstr>Result Analysis</vt:lpstr>
      <vt:lpstr>Further improvements</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u fei</cp:lastModifiedBy>
  <cp:revision>63</cp:revision>
  <cp:lastPrinted>2018-06-07T16:00:00Z</cp:lastPrinted>
  <dcterms:created xsi:type="dcterms:W3CDTF">2018-06-07T16:00:00Z</dcterms:created>
  <dcterms:modified xsi:type="dcterms:W3CDTF">2022-05-01T12: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v-yunxl@microsoft.com</vt:lpwstr>
  </property>
  <property fmtid="{D5CDD505-2E9C-101B-9397-08002B2CF9AE}" pid="6" name="MSIP_Label_f42aa342-8706-4288-bd11-ebb85995028c_SetDate">
    <vt:lpwstr>2018-11-16T07:35:27.1720801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ICV">
    <vt:lpwstr>B77AC723B9364A03BE368851ECD25A95</vt:lpwstr>
  </property>
  <property fmtid="{D5CDD505-2E9C-101B-9397-08002B2CF9AE}" pid="12" name="KSOProductBuildVer">
    <vt:lpwstr>2052-11.1.0.11636</vt:lpwstr>
  </property>
</Properties>
</file>